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77" r:id="rId2"/>
    <p:sldId id="264" r:id="rId3"/>
    <p:sldId id="259" r:id="rId4"/>
    <p:sldId id="262" r:id="rId5"/>
    <p:sldId id="269" r:id="rId6"/>
    <p:sldId id="279" r:id="rId7"/>
    <p:sldId id="278" r:id="rId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126" autoAdjust="0"/>
    <p:restoredTop sz="94660"/>
  </p:normalViewPr>
  <p:slideViewPr>
    <p:cSldViewPr snapToGrid="0">
      <p:cViewPr varScale="1">
        <p:scale>
          <a:sx n="69" d="100"/>
          <a:sy n="69" d="100"/>
        </p:scale>
        <p:origin x="1086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FID Scor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Model 1</c:v>
                </c:pt>
                <c:pt idx="1">
                  <c:v>Model 2</c:v>
                </c:pt>
                <c:pt idx="2">
                  <c:v>Model 3</c:v>
                </c:pt>
                <c:pt idx="3">
                  <c:v>2 Unrelated traffic images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201.37112426757801</c:v>
                </c:pt>
                <c:pt idx="1">
                  <c:v>222.63893127441401</c:v>
                </c:pt>
                <c:pt idx="2">
                  <c:v>175.92831420898401</c:v>
                </c:pt>
                <c:pt idx="3">
                  <c:v>322.45996093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183-4CC0-8C11-8ED922816E6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1289947775"/>
        <c:axId val="1289933855"/>
      </c:barChart>
      <c:catAx>
        <c:axId val="1289947775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89933855"/>
        <c:crosses val="autoZero"/>
        <c:auto val="1"/>
        <c:lblAlgn val="ctr"/>
        <c:lblOffset val="100"/>
        <c:noMultiLvlLbl val="0"/>
      </c:catAx>
      <c:valAx>
        <c:axId val="1289933855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8994777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svg"/><Relationship Id="rId1" Type="http://schemas.openxmlformats.org/officeDocument/2006/relationships/image" Target="../media/image2.png"/><Relationship Id="rId4" Type="http://schemas.openxmlformats.org/officeDocument/2006/relationships/image" Target="../media/image5.svg"/></Relationships>
</file>

<file path=ppt/diagrams/_rels/data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svg"/><Relationship Id="rId1" Type="http://schemas.openxmlformats.org/officeDocument/2006/relationships/image" Target="../media/image6.png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4" Type="http://schemas.openxmlformats.org/officeDocument/2006/relationships/image" Target="../media/image9.sv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svg"/><Relationship Id="rId1" Type="http://schemas.openxmlformats.org/officeDocument/2006/relationships/image" Target="../media/image2.png"/><Relationship Id="rId4" Type="http://schemas.openxmlformats.org/officeDocument/2006/relationships/image" Target="../media/image5.svg"/></Relationships>
</file>

<file path=ppt/diagrams/_rels/drawing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svg"/><Relationship Id="rId1" Type="http://schemas.openxmlformats.org/officeDocument/2006/relationships/image" Target="../media/image6.png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4" Type="http://schemas.openxmlformats.org/officeDocument/2006/relationships/image" Target="../media/image9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18/5/colors/Iconchunking_neutralbg_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>
        <a:alpha val="0"/>
      </a:schemeClr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bg1">
        <a:lumMod val="9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18/5/colors/Iconchunking_coloredtext_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bg1"/>
    </dgm:fillClrLst>
    <dgm:linClrLst meth="repeat">
      <a:schemeClr val="lt1">
        <a:alpha val="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>
        <a:alpha val="0"/>
      </a:schemeClr>
    </dgm:linClrLst>
    <dgm:effectClrLst/>
    <dgm:txLinClrLst/>
    <dgm:txFillClrLst/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accent2">
        <a:alpha val="0"/>
      </a:schemeClr>
    </dgm:fillClrLst>
    <dgm:linClrLst meth="repeat">
      <a:schemeClr val="accent2">
        <a:alpha val="0"/>
      </a:schemeClr>
    </dgm:linClrLst>
    <dgm:effectClrLst/>
    <dgm:txLinClrLst/>
    <dgm:txFillClrLst meth="repeat">
      <a:schemeClr val="accent2"/>
      <a:schemeClr val="accent3"/>
      <a:schemeClr val="accent4"/>
      <a:schemeClr val="accent5"/>
      <a:schemeClr val="accent6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507B095-15CA-43AE-AF09-889C9C8E7ABD}" type="doc">
      <dgm:prSet loTypeId="urn:microsoft.com/office/officeart/2018/2/layout/IconLabelList" loCatId="icon" qsTypeId="urn:microsoft.com/office/officeart/2005/8/quickstyle/simple1" qsCatId="simple" csTypeId="urn:microsoft.com/office/officeart/2018/5/colors/Iconchunking_neutralbg_colorful1" csCatId="colorful" phldr="1"/>
      <dgm:spPr/>
      <dgm:t>
        <a:bodyPr/>
        <a:lstStyle/>
        <a:p>
          <a:endParaRPr lang="en-US"/>
        </a:p>
      </dgm:t>
    </dgm:pt>
    <dgm:pt modelId="{7EE24F99-FAD7-471A-A93B-F70FC806905D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US" sz="1600" dirty="0">
              <a:latin typeface="+mn-lt"/>
              <a:ea typeface="+mn-ea"/>
              <a:cs typeface="+mn-cs"/>
            </a:rPr>
            <a:t>MODERN MACHINE LEARNING MODELS DEMAND ENORMOUS DATASETS FOR TRAINING</a:t>
          </a:r>
          <a:endParaRPr lang="en-US" sz="1600" dirty="0"/>
        </a:p>
      </dgm:t>
    </dgm:pt>
    <dgm:pt modelId="{62137070-DF3A-4EDA-B36A-CEA2905B41FE}" type="parTrans" cxnId="{886593D7-9F8B-49A8-885E-B2C11896BA50}">
      <dgm:prSet/>
      <dgm:spPr/>
      <dgm:t>
        <a:bodyPr/>
        <a:lstStyle/>
        <a:p>
          <a:endParaRPr lang="en-US" sz="1600"/>
        </a:p>
      </dgm:t>
    </dgm:pt>
    <dgm:pt modelId="{6A1AE445-FF76-4B9F-8389-522BA3C5DBEA}" type="sibTrans" cxnId="{886593D7-9F8B-49A8-885E-B2C11896BA50}">
      <dgm:prSet/>
      <dgm:spPr/>
      <dgm:t>
        <a:bodyPr/>
        <a:lstStyle/>
        <a:p>
          <a:endParaRPr lang="en-US" sz="1600"/>
        </a:p>
      </dgm:t>
    </dgm:pt>
    <dgm:pt modelId="{9A0F0CD4-F016-4238-BE1E-418FFA695EAB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US" sz="1600" dirty="0">
              <a:latin typeface="+mn-lt"/>
              <a:ea typeface="+mn-ea"/>
              <a:cs typeface="+mn-cs"/>
            </a:rPr>
            <a:t>DATA COLLECTION, LABELING, AND PREPROCESSING ARE COSTLY AND TIME-INTENSIVE</a:t>
          </a:r>
          <a:endParaRPr lang="en-US" sz="1600" dirty="0"/>
        </a:p>
      </dgm:t>
    </dgm:pt>
    <dgm:pt modelId="{E35F5C55-4E68-434D-AE6E-8563B70ACA20}" type="parTrans" cxnId="{D770A263-A38C-4452-88FB-6DEEB9BB5E53}">
      <dgm:prSet/>
      <dgm:spPr/>
      <dgm:t>
        <a:bodyPr/>
        <a:lstStyle/>
        <a:p>
          <a:endParaRPr lang="en-US" sz="1600"/>
        </a:p>
      </dgm:t>
    </dgm:pt>
    <dgm:pt modelId="{E962A67D-5B7C-4386-AF09-F52A52B23AA4}" type="sibTrans" cxnId="{D770A263-A38C-4452-88FB-6DEEB9BB5E53}">
      <dgm:prSet/>
      <dgm:spPr/>
      <dgm:t>
        <a:bodyPr/>
        <a:lstStyle/>
        <a:p>
          <a:endParaRPr lang="en-US" sz="1600"/>
        </a:p>
      </dgm:t>
    </dgm:pt>
    <dgm:pt modelId="{7075E36E-DD80-41B9-BBE2-27F4356F24A8}" type="pres">
      <dgm:prSet presAssocID="{F507B095-15CA-43AE-AF09-889C9C8E7ABD}" presName="root" presStyleCnt="0">
        <dgm:presLayoutVars>
          <dgm:dir/>
          <dgm:resizeHandles val="exact"/>
        </dgm:presLayoutVars>
      </dgm:prSet>
      <dgm:spPr/>
    </dgm:pt>
    <dgm:pt modelId="{84E0491D-AC79-4743-A663-D6306FEDD1CB}" type="pres">
      <dgm:prSet presAssocID="{7EE24F99-FAD7-471A-A93B-F70FC806905D}" presName="compNode" presStyleCnt="0"/>
      <dgm:spPr/>
    </dgm:pt>
    <dgm:pt modelId="{0AE5A71E-6514-46CE-8861-BD1A76540B3E}" type="pres">
      <dgm:prSet presAssocID="{7EE24F99-FAD7-471A-A93B-F70FC806905D}" presName="iconRect" presStyleLbl="node1" presStyleIdx="0" presStyleCnt="2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Database"/>
        </a:ext>
      </dgm:extLst>
    </dgm:pt>
    <dgm:pt modelId="{F409495F-3415-43EA-A811-863B8C195652}" type="pres">
      <dgm:prSet presAssocID="{7EE24F99-FAD7-471A-A93B-F70FC806905D}" presName="spaceRect" presStyleCnt="0"/>
      <dgm:spPr/>
    </dgm:pt>
    <dgm:pt modelId="{F744939F-9013-4161-9E40-294CCA1E85A8}" type="pres">
      <dgm:prSet presAssocID="{7EE24F99-FAD7-471A-A93B-F70FC806905D}" presName="textRect" presStyleLbl="revTx" presStyleIdx="0" presStyleCnt="2">
        <dgm:presLayoutVars>
          <dgm:chMax val="1"/>
          <dgm:chPref val="1"/>
        </dgm:presLayoutVars>
      </dgm:prSet>
      <dgm:spPr/>
    </dgm:pt>
    <dgm:pt modelId="{0D6154EE-A3D2-496E-A7AA-19953E8E91A6}" type="pres">
      <dgm:prSet presAssocID="{6A1AE445-FF76-4B9F-8389-522BA3C5DBEA}" presName="sibTrans" presStyleCnt="0"/>
      <dgm:spPr/>
    </dgm:pt>
    <dgm:pt modelId="{00F5FEB4-63E7-4195-952F-F061BE9431A2}" type="pres">
      <dgm:prSet presAssocID="{9A0F0CD4-F016-4238-BE1E-418FFA695EAB}" presName="compNode" presStyleCnt="0"/>
      <dgm:spPr/>
    </dgm:pt>
    <dgm:pt modelId="{DEEBD3DE-DD33-4F78-9922-C42B63CB4337}" type="pres">
      <dgm:prSet presAssocID="{9A0F0CD4-F016-4238-BE1E-418FFA695EAB}" presName="iconRect" presStyleLbl="node1" presStyleIdx="1" presStyleCnt="2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Zoom Out"/>
        </a:ext>
      </dgm:extLst>
    </dgm:pt>
    <dgm:pt modelId="{92BD88A7-58EF-466B-847C-BA85EC67AC3F}" type="pres">
      <dgm:prSet presAssocID="{9A0F0CD4-F016-4238-BE1E-418FFA695EAB}" presName="spaceRect" presStyleCnt="0"/>
      <dgm:spPr/>
    </dgm:pt>
    <dgm:pt modelId="{2713D5C2-1F6C-4194-9EF4-DB7FEC7B82C7}" type="pres">
      <dgm:prSet presAssocID="{9A0F0CD4-F016-4238-BE1E-418FFA695EAB}" presName="textRect" presStyleLbl="revTx" presStyleIdx="1" presStyleCnt="2">
        <dgm:presLayoutVars>
          <dgm:chMax val="1"/>
          <dgm:chPref val="1"/>
        </dgm:presLayoutVars>
      </dgm:prSet>
      <dgm:spPr/>
    </dgm:pt>
  </dgm:ptLst>
  <dgm:cxnLst>
    <dgm:cxn modelId="{D676F632-51D9-451E-8EE5-9048D1C25D62}" type="presOf" srcId="{9A0F0CD4-F016-4238-BE1E-418FFA695EAB}" destId="{2713D5C2-1F6C-4194-9EF4-DB7FEC7B82C7}" srcOrd="0" destOrd="0" presId="urn:microsoft.com/office/officeart/2018/2/layout/IconLabelList"/>
    <dgm:cxn modelId="{D770A263-A38C-4452-88FB-6DEEB9BB5E53}" srcId="{F507B095-15CA-43AE-AF09-889C9C8E7ABD}" destId="{9A0F0CD4-F016-4238-BE1E-418FFA695EAB}" srcOrd="1" destOrd="0" parTransId="{E35F5C55-4E68-434D-AE6E-8563B70ACA20}" sibTransId="{E962A67D-5B7C-4386-AF09-F52A52B23AA4}"/>
    <dgm:cxn modelId="{4ADCBB6F-7538-4262-8839-E20132FF2017}" type="presOf" srcId="{7EE24F99-FAD7-471A-A93B-F70FC806905D}" destId="{F744939F-9013-4161-9E40-294CCA1E85A8}" srcOrd="0" destOrd="0" presId="urn:microsoft.com/office/officeart/2018/2/layout/IconLabelList"/>
    <dgm:cxn modelId="{A76806B0-F77D-4AB2-A222-F79CED1689CE}" type="presOf" srcId="{F507B095-15CA-43AE-AF09-889C9C8E7ABD}" destId="{7075E36E-DD80-41B9-BBE2-27F4356F24A8}" srcOrd="0" destOrd="0" presId="urn:microsoft.com/office/officeart/2018/2/layout/IconLabelList"/>
    <dgm:cxn modelId="{886593D7-9F8B-49A8-885E-B2C11896BA50}" srcId="{F507B095-15CA-43AE-AF09-889C9C8E7ABD}" destId="{7EE24F99-FAD7-471A-A93B-F70FC806905D}" srcOrd="0" destOrd="0" parTransId="{62137070-DF3A-4EDA-B36A-CEA2905B41FE}" sibTransId="{6A1AE445-FF76-4B9F-8389-522BA3C5DBEA}"/>
    <dgm:cxn modelId="{E3C8233F-8B23-4172-A60B-2A6F5E681B53}" type="presParOf" srcId="{7075E36E-DD80-41B9-BBE2-27F4356F24A8}" destId="{84E0491D-AC79-4743-A663-D6306FEDD1CB}" srcOrd="0" destOrd="0" presId="urn:microsoft.com/office/officeart/2018/2/layout/IconLabelList"/>
    <dgm:cxn modelId="{F3CBBF56-FC24-44DE-B3C6-2659A5799F0A}" type="presParOf" srcId="{84E0491D-AC79-4743-A663-D6306FEDD1CB}" destId="{0AE5A71E-6514-46CE-8861-BD1A76540B3E}" srcOrd="0" destOrd="0" presId="urn:microsoft.com/office/officeart/2018/2/layout/IconLabelList"/>
    <dgm:cxn modelId="{30E7FE52-80E0-477A-998C-935930CE37A6}" type="presParOf" srcId="{84E0491D-AC79-4743-A663-D6306FEDD1CB}" destId="{F409495F-3415-43EA-A811-863B8C195652}" srcOrd="1" destOrd="0" presId="urn:microsoft.com/office/officeart/2018/2/layout/IconLabelList"/>
    <dgm:cxn modelId="{7DDCBC9A-8203-4CB3-A352-226DBDB9D8AE}" type="presParOf" srcId="{84E0491D-AC79-4743-A663-D6306FEDD1CB}" destId="{F744939F-9013-4161-9E40-294CCA1E85A8}" srcOrd="2" destOrd="0" presId="urn:microsoft.com/office/officeart/2018/2/layout/IconLabelList"/>
    <dgm:cxn modelId="{9AB1184A-FB09-447B-8FE3-6519F4A7839A}" type="presParOf" srcId="{7075E36E-DD80-41B9-BBE2-27F4356F24A8}" destId="{0D6154EE-A3D2-496E-A7AA-19953E8E91A6}" srcOrd="1" destOrd="0" presId="urn:microsoft.com/office/officeart/2018/2/layout/IconLabelList"/>
    <dgm:cxn modelId="{8FF0E456-940F-4BDD-9AC1-FD59C4E39952}" type="presParOf" srcId="{7075E36E-DD80-41B9-BBE2-27F4356F24A8}" destId="{00F5FEB4-63E7-4195-952F-F061BE9431A2}" srcOrd="2" destOrd="0" presId="urn:microsoft.com/office/officeart/2018/2/layout/IconLabelList"/>
    <dgm:cxn modelId="{80B08581-FC7B-4227-9B38-EF42F322025F}" type="presParOf" srcId="{00F5FEB4-63E7-4195-952F-F061BE9431A2}" destId="{DEEBD3DE-DD33-4F78-9922-C42B63CB4337}" srcOrd="0" destOrd="0" presId="urn:microsoft.com/office/officeart/2018/2/layout/IconLabelList"/>
    <dgm:cxn modelId="{965632CD-20E3-42FE-9D31-443DBBE8D8A0}" type="presParOf" srcId="{00F5FEB4-63E7-4195-952F-F061BE9431A2}" destId="{92BD88A7-58EF-466B-847C-BA85EC67AC3F}" srcOrd="1" destOrd="0" presId="urn:microsoft.com/office/officeart/2018/2/layout/IconLabelList"/>
    <dgm:cxn modelId="{6D3D161E-6171-4665-A457-8B614FE17442}" type="presParOf" srcId="{00F5FEB4-63E7-4195-952F-F061BE9431A2}" destId="{2713D5C2-1F6C-4194-9EF4-DB7FEC7B82C7}" srcOrd="2" destOrd="0" presId="urn:microsoft.com/office/officeart/2018/2/layout/IconLabel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F507B095-15CA-43AE-AF09-889C9C8E7ABD}" type="doc">
      <dgm:prSet loTypeId="urn:microsoft.com/office/officeart/2018/5/layout/IconCircleLabelList" loCatId="icon" qsTypeId="urn:microsoft.com/office/officeart/2005/8/quickstyle/simple1" qsCatId="simple" csTypeId="urn:microsoft.com/office/officeart/2018/5/colors/Iconchunking_coloredtext_colorful1" csCatId="colorful" phldr="1"/>
      <dgm:spPr/>
      <dgm:t>
        <a:bodyPr/>
        <a:lstStyle/>
        <a:p>
          <a:endParaRPr lang="en-US"/>
        </a:p>
      </dgm:t>
    </dgm:pt>
    <dgm:pt modelId="{7EE24F99-FAD7-471A-A93B-F70FC806905D}">
      <dgm:prSet custT="1"/>
      <dgm:spPr/>
      <dgm:t>
        <a:bodyPr/>
        <a:lstStyle/>
        <a:p>
          <a:pPr>
            <a:lnSpc>
              <a:spcPct val="100000"/>
            </a:lnSpc>
            <a:defRPr cap="all"/>
          </a:pPr>
          <a:r>
            <a:rPr lang="en-US" sz="1600" kern="1200" cap="all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ptos" panose="02110004020202020204"/>
              <a:ea typeface="+mn-ea"/>
              <a:cs typeface="+mn-cs"/>
            </a:rPr>
            <a:t>Use Stable Diffusion to generate realistic synthetic data.</a:t>
          </a:r>
        </a:p>
      </dgm:t>
    </dgm:pt>
    <dgm:pt modelId="{62137070-DF3A-4EDA-B36A-CEA2905B41FE}" type="parTrans" cxnId="{886593D7-9F8B-49A8-885E-B2C11896BA50}">
      <dgm:prSet/>
      <dgm:spPr/>
      <dgm:t>
        <a:bodyPr/>
        <a:lstStyle/>
        <a:p>
          <a:endParaRPr lang="en-US" sz="1600"/>
        </a:p>
      </dgm:t>
    </dgm:pt>
    <dgm:pt modelId="{6A1AE445-FF76-4B9F-8389-522BA3C5DBEA}" type="sibTrans" cxnId="{886593D7-9F8B-49A8-885E-B2C11896BA50}">
      <dgm:prSet/>
      <dgm:spPr/>
      <dgm:t>
        <a:bodyPr/>
        <a:lstStyle/>
        <a:p>
          <a:endParaRPr lang="en-US"/>
        </a:p>
      </dgm:t>
    </dgm:pt>
    <dgm:pt modelId="{2FA6B052-F780-4069-BAEB-A08AF9078DCF}">
      <dgm:prSet custT="1"/>
      <dgm:spPr/>
      <dgm:t>
        <a:bodyPr/>
        <a:lstStyle/>
        <a:p>
          <a:pPr marL="0" lvl="0" indent="0" algn="ctr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cap="all"/>
          </a:pPr>
          <a:r>
            <a:rPr lang="en-US" sz="1600" kern="1200" cap="all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ptos" panose="02110004020202020204"/>
              <a:ea typeface="+mn-ea"/>
              <a:cs typeface="+mn-cs"/>
            </a:rPr>
            <a:t>Employ ControlNet for controlled and diverse image synthesis.</a:t>
          </a:r>
        </a:p>
      </dgm:t>
    </dgm:pt>
    <dgm:pt modelId="{C49BE064-33CA-418C-B5CA-627DE2B44E3E}" type="parTrans" cxnId="{2FAA331F-58C9-4208-B397-DEEF7D07744C}">
      <dgm:prSet/>
      <dgm:spPr/>
      <dgm:t>
        <a:bodyPr/>
        <a:lstStyle/>
        <a:p>
          <a:endParaRPr lang="en-US" sz="1600"/>
        </a:p>
      </dgm:t>
    </dgm:pt>
    <dgm:pt modelId="{A0D87FF1-7CE2-42B1-9974-1CAF91EFA2B6}" type="sibTrans" cxnId="{2FAA331F-58C9-4208-B397-DEEF7D07744C}">
      <dgm:prSet/>
      <dgm:spPr/>
      <dgm:t>
        <a:bodyPr/>
        <a:lstStyle/>
        <a:p>
          <a:endParaRPr lang="en-US"/>
        </a:p>
      </dgm:t>
    </dgm:pt>
    <dgm:pt modelId="{9A0F0CD4-F016-4238-BE1E-418FFA695EAB}">
      <dgm:prSet custT="1"/>
      <dgm:spPr/>
      <dgm:t>
        <a:bodyPr/>
        <a:lstStyle/>
        <a:p>
          <a:pPr marL="0" lvl="0" indent="0" algn="ctr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cap="all"/>
          </a:pPr>
          <a:r>
            <a:rPr lang="en-US" sz="1600" kern="1200" cap="all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ptos" panose="02110004020202020204"/>
              <a:ea typeface="+mn-ea"/>
              <a:cs typeface="+mn-cs"/>
            </a:rPr>
            <a:t>USE MIDAS TO FURTHER ENHANCE CONTEXTUAL REPRESENTATION.</a:t>
          </a:r>
        </a:p>
      </dgm:t>
    </dgm:pt>
    <dgm:pt modelId="{E35F5C55-4E68-434D-AE6E-8563B70ACA20}" type="parTrans" cxnId="{D770A263-A38C-4452-88FB-6DEEB9BB5E53}">
      <dgm:prSet/>
      <dgm:spPr/>
      <dgm:t>
        <a:bodyPr/>
        <a:lstStyle/>
        <a:p>
          <a:endParaRPr lang="en-US" sz="1600"/>
        </a:p>
      </dgm:t>
    </dgm:pt>
    <dgm:pt modelId="{E962A67D-5B7C-4386-AF09-F52A52B23AA4}" type="sibTrans" cxnId="{D770A263-A38C-4452-88FB-6DEEB9BB5E53}">
      <dgm:prSet/>
      <dgm:spPr/>
      <dgm:t>
        <a:bodyPr/>
        <a:lstStyle/>
        <a:p>
          <a:endParaRPr lang="en-US"/>
        </a:p>
      </dgm:t>
    </dgm:pt>
    <dgm:pt modelId="{F5A65CCC-2B98-47C3-97D9-46C0009986DA}" type="pres">
      <dgm:prSet presAssocID="{F507B095-15CA-43AE-AF09-889C9C8E7ABD}" presName="root" presStyleCnt="0">
        <dgm:presLayoutVars>
          <dgm:dir/>
          <dgm:resizeHandles val="exact"/>
        </dgm:presLayoutVars>
      </dgm:prSet>
      <dgm:spPr/>
    </dgm:pt>
    <dgm:pt modelId="{69DBF728-ACBB-41FE-8985-E49779BDED05}" type="pres">
      <dgm:prSet presAssocID="{7EE24F99-FAD7-471A-A93B-F70FC806905D}" presName="compNode" presStyleCnt="0"/>
      <dgm:spPr/>
    </dgm:pt>
    <dgm:pt modelId="{D830D6C3-210A-4592-A377-9F61C1C68CA5}" type="pres">
      <dgm:prSet presAssocID="{7EE24F99-FAD7-471A-A93B-F70FC806905D}" presName="iconBgRect" presStyleLbl="bgShp" presStyleIdx="0" presStyleCnt="3"/>
      <dgm:spPr/>
    </dgm:pt>
    <dgm:pt modelId="{039A13CB-D613-4F9E-AC0D-029254910939}" type="pres">
      <dgm:prSet presAssocID="{7EE24F99-FAD7-471A-A93B-F70FC806905D}" presName="iconRect" presStyleLbl="node1" presStyleIdx="0" presStyleCnt="3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DNA"/>
        </a:ext>
      </dgm:extLst>
    </dgm:pt>
    <dgm:pt modelId="{5168D2D5-DB45-4EF4-89F4-6F507E89C535}" type="pres">
      <dgm:prSet presAssocID="{7EE24F99-FAD7-471A-A93B-F70FC806905D}" presName="spaceRect" presStyleCnt="0"/>
      <dgm:spPr/>
    </dgm:pt>
    <dgm:pt modelId="{17FFCF2B-9446-400E-9543-67A3291E7EE5}" type="pres">
      <dgm:prSet presAssocID="{7EE24F99-FAD7-471A-A93B-F70FC806905D}" presName="textRect" presStyleLbl="revTx" presStyleIdx="0" presStyleCnt="3">
        <dgm:presLayoutVars>
          <dgm:chMax val="1"/>
          <dgm:chPref val="1"/>
        </dgm:presLayoutVars>
      </dgm:prSet>
      <dgm:spPr/>
    </dgm:pt>
    <dgm:pt modelId="{8CC536E5-3C62-445F-B79F-FFC1D216C77E}" type="pres">
      <dgm:prSet presAssocID="{6A1AE445-FF76-4B9F-8389-522BA3C5DBEA}" presName="sibTrans" presStyleCnt="0"/>
      <dgm:spPr/>
    </dgm:pt>
    <dgm:pt modelId="{A2CD32E2-FE0D-4417-9F42-CE89E3D78B2C}" type="pres">
      <dgm:prSet presAssocID="{2FA6B052-F780-4069-BAEB-A08AF9078DCF}" presName="compNode" presStyleCnt="0"/>
      <dgm:spPr/>
    </dgm:pt>
    <dgm:pt modelId="{E42FAF9D-0A22-42AB-B8CB-DC754F13920C}" type="pres">
      <dgm:prSet presAssocID="{2FA6B052-F780-4069-BAEB-A08AF9078DCF}" presName="iconBgRect" presStyleLbl="bgShp" presStyleIdx="1" presStyleCnt="3"/>
      <dgm:spPr/>
    </dgm:pt>
    <dgm:pt modelId="{AE7F75B6-2AE0-4D70-B587-88E5EDDB5829}" type="pres">
      <dgm:prSet presAssocID="{2FA6B052-F780-4069-BAEB-A08AF9078DCF}" presName="iconRect" presStyleLbl="node1" presStyleIdx="1" presStyleCnt="3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Beaker"/>
        </a:ext>
      </dgm:extLst>
    </dgm:pt>
    <dgm:pt modelId="{93ED305A-8E16-45A2-9DEC-BB6B851B3CA8}" type="pres">
      <dgm:prSet presAssocID="{2FA6B052-F780-4069-BAEB-A08AF9078DCF}" presName="spaceRect" presStyleCnt="0"/>
      <dgm:spPr/>
    </dgm:pt>
    <dgm:pt modelId="{68DC26F0-DB54-41E2-86AE-75C98AC8C35D}" type="pres">
      <dgm:prSet presAssocID="{2FA6B052-F780-4069-BAEB-A08AF9078DCF}" presName="textRect" presStyleLbl="revTx" presStyleIdx="1" presStyleCnt="3">
        <dgm:presLayoutVars>
          <dgm:chMax val="1"/>
          <dgm:chPref val="1"/>
        </dgm:presLayoutVars>
      </dgm:prSet>
      <dgm:spPr/>
    </dgm:pt>
    <dgm:pt modelId="{A086B19E-4C8C-41AD-95A8-EB63B09292FB}" type="pres">
      <dgm:prSet presAssocID="{A0D87FF1-7CE2-42B1-9974-1CAF91EFA2B6}" presName="sibTrans" presStyleCnt="0"/>
      <dgm:spPr/>
    </dgm:pt>
    <dgm:pt modelId="{2CA66A7A-B064-4E3A-927B-4D934E742294}" type="pres">
      <dgm:prSet presAssocID="{9A0F0CD4-F016-4238-BE1E-418FFA695EAB}" presName="compNode" presStyleCnt="0"/>
      <dgm:spPr/>
    </dgm:pt>
    <dgm:pt modelId="{BDF99558-09F4-438B-8577-8C8321F7A7ED}" type="pres">
      <dgm:prSet presAssocID="{9A0F0CD4-F016-4238-BE1E-418FFA695EAB}" presName="iconBgRect" presStyleLbl="bgShp" presStyleIdx="2" presStyleCnt="3"/>
      <dgm:spPr/>
    </dgm:pt>
    <dgm:pt modelId="{478DF25C-D748-4C74-BA64-284AFF51C2A0}" type="pres">
      <dgm:prSet presAssocID="{9A0F0CD4-F016-4238-BE1E-418FFA695EAB}" presName="iconRect" presStyleLbl="node1" presStyleIdx="2" presStyleCnt="3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Head with Gears"/>
        </a:ext>
      </dgm:extLst>
    </dgm:pt>
    <dgm:pt modelId="{F5B797C7-0541-4940-9E10-37973A66FA75}" type="pres">
      <dgm:prSet presAssocID="{9A0F0CD4-F016-4238-BE1E-418FFA695EAB}" presName="spaceRect" presStyleCnt="0"/>
      <dgm:spPr/>
    </dgm:pt>
    <dgm:pt modelId="{03069721-B121-4E24-A0E5-F3EF477E67D5}" type="pres">
      <dgm:prSet presAssocID="{9A0F0CD4-F016-4238-BE1E-418FFA695EAB}" presName="textRect" presStyleLbl="revTx" presStyleIdx="2" presStyleCnt="3">
        <dgm:presLayoutVars>
          <dgm:chMax val="1"/>
          <dgm:chPref val="1"/>
        </dgm:presLayoutVars>
      </dgm:prSet>
      <dgm:spPr/>
    </dgm:pt>
  </dgm:ptLst>
  <dgm:cxnLst>
    <dgm:cxn modelId="{92DFD313-1133-4D81-B82A-CD1B5563006F}" type="presOf" srcId="{7EE24F99-FAD7-471A-A93B-F70FC806905D}" destId="{17FFCF2B-9446-400E-9543-67A3291E7EE5}" srcOrd="0" destOrd="0" presId="urn:microsoft.com/office/officeart/2018/5/layout/IconCircleLabelList"/>
    <dgm:cxn modelId="{2FAA331F-58C9-4208-B397-DEEF7D07744C}" srcId="{F507B095-15CA-43AE-AF09-889C9C8E7ABD}" destId="{2FA6B052-F780-4069-BAEB-A08AF9078DCF}" srcOrd="1" destOrd="0" parTransId="{C49BE064-33CA-418C-B5CA-627DE2B44E3E}" sibTransId="{A0D87FF1-7CE2-42B1-9974-1CAF91EFA2B6}"/>
    <dgm:cxn modelId="{6B07793F-6A88-4555-AE1B-A2ABD1532086}" type="presOf" srcId="{2FA6B052-F780-4069-BAEB-A08AF9078DCF}" destId="{68DC26F0-DB54-41E2-86AE-75C98AC8C35D}" srcOrd="0" destOrd="0" presId="urn:microsoft.com/office/officeart/2018/5/layout/IconCircleLabelList"/>
    <dgm:cxn modelId="{D770A263-A38C-4452-88FB-6DEEB9BB5E53}" srcId="{F507B095-15CA-43AE-AF09-889C9C8E7ABD}" destId="{9A0F0CD4-F016-4238-BE1E-418FFA695EAB}" srcOrd="2" destOrd="0" parTransId="{E35F5C55-4E68-434D-AE6E-8563B70ACA20}" sibTransId="{E962A67D-5B7C-4386-AF09-F52A52B23AA4}"/>
    <dgm:cxn modelId="{8910A2B8-A202-466A-8916-113DB76C8C3A}" type="presOf" srcId="{F507B095-15CA-43AE-AF09-889C9C8E7ABD}" destId="{F5A65CCC-2B98-47C3-97D9-46C0009986DA}" srcOrd="0" destOrd="0" presId="urn:microsoft.com/office/officeart/2018/5/layout/IconCircleLabelList"/>
    <dgm:cxn modelId="{05E185D2-0ECB-4BF7-AD22-B00CA167C3FB}" type="presOf" srcId="{9A0F0CD4-F016-4238-BE1E-418FFA695EAB}" destId="{03069721-B121-4E24-A0E5-F3EF477E67D5}" srcOrd="0" destOrd="0" presId="urn:microsoft.com/office/officeart/2018/5/layout/IconCircleLabelList"/>
    <dgm:cxn modelId="{886593D7-9F8B-49A8-885E-B2C11896BA50}" srcId="{F507B095-15CA-43AE-AF09-889C9C8E7ABD}" destId="{7EE24F99-FAD7-471A-A93B-F70FC806905D}" srcOrd="0" destOrd="0" parTransId="{62137070-DF3A-4EDA-B36A-CEA2905B41FE}" sibTransId="{6A1AE445-FF76-4B9F-8389-522BA3C5DBEA}"/>
    <dgm:cxn modelId="{7914B84B-E8C4-46E9-8EDF-5DFC8A472A28}" type="presParOf" srcId="{F5A65CCC-2B98-47C3-97D9-46C0009986DA}" destId="{69DBF728-ACBB-41FE-8985-E49779BDED05}" srcOrd="0" destOrd="0" presId="urn:microsoft.com/office/officeart/2018/5/layout/IconCircleLabelList"/>
    <dgm:cxn modelId="{894B59D9-569E-4DE3-B7C9-EE7565F39C19}" type="presParOf" srcId="{69DBF728-ACBB-41FE-8985-E49779BDED05}" destId="{D830D6C3-210A-4592-A377-9F61C1C68CA5}" srcOrd="0" destOrd="0" presId="urn:microsoft.com/office/officeart/2018/5/layout/IconCircleLabelList"/>
    <dgm:cxn modelId="{29A39F9C-4BA4-40F1-9C77-405A6A24E53B}" type="presParOf" srcId="{69DBF728-ACBB-41FE-8985-E49779BDED05}" destId="{039A13CB-D613-4F9E-AC0D-029254910939}" srcOrd="1" destOrd="0" presId="urn:microsoft.com/office/officeart/2018/5/layout/IconCircleLabelList"/>
    <dgm:cxn modelId="{F931C28E-5A15-40C2-9247-140EF446542E}" type="presParOf" srcId="{69DBF728-ACBB-41FE-8985-E49779BDED05}" destId="{5168D2D5-DB45-4EF4-89F4-6F507E89C535}" srcOrd="2" destOrd="0" presId="urn:microsoft.com/office/officeart/2018/5/layout/IconCircleLabelList"/>
    <dgm:cxn modelId="{3F191197-7982-42E5-9F5B-E985F98105F0}" type="presParOf" srcId="{69DBF728-ACBB-41FE-8985-E49779BDED05}" destId="{17FFCF2B-9446-400E-9543-67A3291E7EE5}" srcOrd="3" destOrd="0" presId="urn:microsoft.com/office/officeart/2018/5/layout/IconCircleLabelList"/>
    <dgm:cxn modelId="{90B51115-58E9-4727-807F-BFE84EE2E511}" type="presParOf" srcId="{F5A65CCC-2B98-47C3-97D9-46C0009986DA}" destId="{8CC536E5-3C62-445F-B79F-FFC1D216C77E}" srcOrd="1" destOrd="0" presId="urn:microsoft.com/office/officeart/2018/5/layout/IconCircleLabelList"/>
    <dgm:cxn modelId="{D254B39B-E898-4DB8-8F90-1113C0F4B2CE}" type="presParOf" srcId="{F5A65CCC-2B98-47C3-97D9-46C0009986DA}" destId="{A2CD32E2-FE0D-4417-9F42-CE89E3D78B2C}" srcOrd="2" destOrd="0" presId="urn:microsoft.com/office/officeart/2018/5/layout/IconCircleLabelList"/>
    <dgm:cxn modelId="{EBE1394B-4175-4BE8-AFB4-91C3D7745751}" type="presParOf" srcId="{A2CD32E2-FE0D-4417-9F42-CE89E3D78B2C}" destId="{E42FAF9D-0A22-42AB-B8CB-DC754F13920C}" srcOrd="0" destOrd="0" presId="urn:microsoft.com/office/officeart/2018/5/layout/IconCircleLabelList"/>
    <dgm:cxn modelId="{8891F3DF-BB31-4D35-A649-8A52F5E0CAC3}" type="presParOf" srcId="{A2CD32E2-FE0D-4417-9F42-CE89E3D78B2C}" destId="{AE7F75B6-2AE0-4D70-B587-88E5EDDB5829}" srcOrd="1" destOrd="0" presId="urn:microsoft.com/office/officeart/2018/5/layout/IconCircleLabelList"/>
    <dgm:cxn modelId="{22B73FE3-D7AF-4AFA-ACC9-91EDAF19E203}" type="presParOf" srcId="{A2CD32E2-FE0D-4417-9F42-CE89E3D78B2C}" destId="{93ED305A-8E16-45A2-9DEC-BB6B851B3CA8}" srcOrd="2" destOrd="0" presId="urn:microsoft.com/office/officeart/2018/5/layout/IconCircleLabelList"/>
    <dgm:cxn modelId="{439DD89F-7FB5-4C94-BF30-E372835BCF2C}" type="presParOf" srcId="{A2CD32E2-FE0D-4417-9F42-CE89E3D78B2C}" destId="{68DC26F0-DB54-41E2-86AE-75C98AC8C35D}" srcOrd="3" destOrd="0" presId="urn:microsoft.com/office/officeart/2018/5/layout/IconCircleLabelList"/>
    <dgm:cxn modelId="{2A28F6F1-48BC-405B-A2D2-0D3AAF214E88}" type="presParOf" srcId="{F5A65CCC-2B98-47C3-97D9-46C0009986DA}" destId="{A086B19E-4C8C-41AD-95A8-EB63B09292FB}" srcOrd="3" destOrd="0" presId="urn:microsoft.com/office/officeart/2018/5/layout/IconCircleLabelList"/>
    <dgm:cxn modelId="{6E41CA6D-8AD6-4930-815F-ECE8071E9AD2}" type="presParOf" srcId="{F5A65CCC-2B98-47C3-97D9-46C0009986DA}" destId="{2CA66A7A-B064-4E3A-927B-4D934E742294}" srcOrd="4" destOrd="0" presId="urn:microsoft.com/office/officeart/2018/5/layout/IconCircleLabelList"/>
    <dgm:cxn modelId="{8C1DCFEA-A7D0-419D-8C36-5DBA22CC9375}" type="presParOf" srcId="{2CA66A7A-B064-4E3A-927B-4D934E742294}" destId="{BDF99558-09F4-438B-8577-8C8321F7A7ED}" srcOrd="0" destOrd="0" presId="urn:microsoft.com/office/officeart/2018/5/layout/IconCircleLabelList"/>
    <dgm:cxn modelId="{42A1ED6A-7D40-40BD-9C8F-621DBC6079FD}" type="presParOf" srcId="{2CA66A7A-B064-4E3A-927B-4D934E742294}" destId="{478DF25C-D748-4C74-BA64-284AFF51C2A0}" srcOrd="1" destOrd="0" presId="urn:microsoft.com/office/officeart/2018/5/layout/IconCircleLabelList"/>
    <dgm:cxn modelId="{A115A61A-EA15-43A4-A9A9-B570F39C1D41}" type="presParOf" srcId="{2CA66A7A-B064-4E3A-927B-4D934E742294}" destId="{F5B797C7-0541-4940-9E10-37973A66FA75}" srcOrd="2" destOrd="0" presId="urn:microsoft.com/office/officeart/2018/5/layout/IconCircleLabelList"/>
    <dgm:cxn modelId="{E0E2ED26-4230-4185-9B9E-D599BF7FF319}" type="presParOf" srcId="{2CA66A7A-B064-4E3A-927B-4D934E742294}" destId="{03069721-B121-4E24-A0E5-F3EF477E67D5}" srcOrd="3" destOrd="0" presId="urn:microsoft.com/office/officeart/2018/5/layout/IconCircleLabel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AE5A71E-6514-46CE-8861-BD1A76540B3E}">
      <dsp:nvSpPr>
        <dsp:cNvPr id="0" name=""/>
        <dsp:cNvSpPr/>
      </dsp:nvSpPr>
      <dsp:spPr>
        <a:xfrm>
          <a:off x="1953914" y="502871"/>
          <a:ext cx="1944000" cy="1944000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744939F-9013-4161-9E40-294CCA1E85A8}">
      <dsp:nvSpPr>
        <dsp:cNvPr id="0" name=""/>
        <dsp:cNvSpPr/>
      </dsp:nvSpPr>
      <dsp:spPr>
        <a:xfrm>
          <a:off x="765914" y="2924933"/>
          <a:ext cx="4320000" cy="765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latin typeface="+mn-lt"/>
              <a:ea typeface="+mn-ea"/>
              <a:cs typeface="+mn-cs"/>
            </a:rPr>
            <a:t>MODERN MACHINE LEARNING MODELS DEMAND ENORMOUS DATASETS FOR TRAINING</a:t>
          </a:r>
          <a:endParaRPr lang="en-US" sz="1600" kern="1200" dirty="0"/>
        </a:p>
      </dsp:txBody>
      <dsp:txXfrm>
        <a:off x="765914" y="2924933"/>
        <a:ext cx="4320000" cy="765000"/>
      </dsp:txXfrm>
    </dsp:sp>
    <dsp:sp modelId="{DEEBD3DE-DD33-4F78-9922-C42B63CB4337}">
      <dsp:nvSpPr>
        <dsp:cNvPr id="0" name=""/>
        <dsp:cNvSpPr/>
      </dsp:nvSpPr>
      <dsp:spPr>
        <a:xfrm>
          <a:off x="7029914" y="502871"/>
          <a:ext cx="1944000" cy="1944000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713D5C2-1F6C-4194-9EF4-DB7FEC7B82C7}">
      <dsp:nvSpPr>
        <dsp:cNvPr id="0" name=""/>
        <dsp:cNvSpPr/>
      </dsp:nvSpPr>
      <dsp:spPr>
        <a:xfrm>
          <a:off x="5841914" y="2924933"/>
          <a:ext cx="4320000" cy="765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latin typeface="+mn-lt"/>
              <a:ea typeface="+mn-ea"/>
              <a:cs typeface="+mn-cs"/>
            </a:rPr>
            <a:t>DATA COLLECTION, LABELING, AND PREPROCESSING ARE COSTLY AND TIME-INTENSIVE</a:t>
          </a:r>
          <a:endParaRPr lang="en-US" sz="1600" kern="1200" dirty="0"/>
        </a:p>
      </dsp:txBody>
      <dsp:txXfrm>
        <a:off x="5841914" y="2924933"/>
        <a:ext cx="4320000" cy="76500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830D6C3-210A-4592-A377-9F61C1C68CA5}">
      <dsp:nvSpPr>
        <dsp:cNvPr id="0" name=""/>
        <dsp:cNvSpPr/>
      </dsp:nvSpPr>
      <dsp:spPr>
        <a:xfrm>
          <a:off x="718664" y="431402"/>
          <a:ext cx="1955812" cy="1955812"/>
        </a:xfrm>
        <a:prstGeom prst="ellips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39A13CB-D613-4F9E-AC0D-029254910939}">
      <dsp:nvSpPr>
        <dsp:cNvPr id="0" name=""/>
        <dsp:cNvSpPr/>
      </dsp:nvSpPr>
      <dsp:spPr>
        <a:xfrm>
          <a:off x="1135476" y="848214"/>
          <a:ext cx="1122187" cy="1122187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7FFCF2B-9446-400E-9543-67A3291E7EE5}">
      <dsp:nvSpPr>
        <dsp:cNvPr id="0" name=""/>
        <dsp:cNvSpPr/>
      </dsp:nvSpPr>
      <dsp:spPr>
        <a:xfrm>
          <a:off x="93445" y="2996402"/>
          <a:ext cx="3206250" cy="765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cap="all"/>
          </a:pPr>
          <a:r>
            <a:rPr lang="en-US" sz="1600" kern="1200" cap="all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ptos" panose="02110004020202020204"/>
              <a:ea typeface="+mn-ea"/>
              <a:cs typeface="+mn-cs"/>
            </a:rPr>
            <a:t>Use Stable Diffusion to generate realistic synthetic data.</a:t>
          </a:r>
        </a:p>
      </dsp:txBody>
      <dsp:txXfrm>
        <a:off x="93445" y="2996402"/>
        <a:ext cx="3206250" cy="765000"/>
      </dsp:txXfrm>
    </dsp:sp>
    <dsp:sp modelId="{E42FAF9D-0A22-42AB-B8CB-DC754F13920C}">
      <dsp:nvSpPr>
        <dsp:cNvPr id="0" name=""/>
        <dsp:cNvSpPr/>
      </dsp:nvSpPr>
      <dsp:spPr>
        <a:xfrm>
          <a:off x="4486008" y="431402"/>
          <a:ext cx="1955812" cy="1955812"/>
        </a:xfrm>
        <a:prstGeom prst="ellipse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E7F75B6-2AE0-4D70-B587-88E5EDDB5829}">
      <dsp:nvSpPr>
        <dsp:cNvPr id="0" name=""/>
        <dsp:cNvSpPr/>
      </dsp:nvSpPr>
      <dsp:spPr>
        <a:xfrm>
          <a:off x="4902820" y="848214"/>
          <a:ext cx="1122187" cy="1122187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8DC26F0-DB54-41E2-86AE-75C98AC8C35D}">
      <dsp:nvSpPr>
        <dsp:cNvPr id="0" name=""/>
        <dsp:cNvSpPr/>
      </dsp:nvSpPr>
      <dsp:spPr>
        <a:xfrm>
          <a:off x="3860789" y="2996402"/>
          <a:ext cx="3206250" cy="765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cap="all"/>
          </a:pPr>
          <a:r>
            <a:rPr lang="en-US" sz="1600" kern="1200" cap="all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ptos" panose="02110004020202020204"/>
              <a:ea typeface="+mn-ea"/>
              <a:cs typeface="+mn-cs"/>
            </a:rPr>
            <a:t>Employ ControlNet for controlled and diverse image synthesis.</a:t>
          </a:r>
        </a:p>
      </dsp:txBody>
      <dsp:txXfrm>
        <a:off x="3860789" y="2996402"/>
        <a:ext cx="3206250" cy="765000"/>
      </dsp:txXfrm>
    </dsp:sp>
    <dsp:sp modelId="{BDF99558-09F4-438B-8577-8C8321F7A7ED}">
      <dsp:nvSpPr>
        <dsp:cNvPr id="0" name=""/>
        <dsp:cNvSpPr/>
      </dsp:nvSpPr>
      <dsp:spPr>
        <a:xfrm>
          <a:off x="8253352" y="431402"/>
          <a:ext cx="1955812" cy="1955812"/>
        </a:xfrm>
        <a:prstGeom prst="ellipse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78DF25C-D748-4C74-BA64-284AFF51C2A0}">
      <dsp:nvSpPr>
        <dsp:cNvPr id="0" name=""/>
        <dsp:cNvSpPr/>
      </dsp:nvSpPr>
      <dsp:spPr>
        <a:xfrm>
          <a:off x="8670164" y="848214"/>
          <a:ext cx="1122187" cy="1122187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3069721-B121-4E24-A0E5-F3EF477E67D5}">
      <dsp:nvSpPr>
        <dsp:cNvPr id="0" name=""/>
        <dsp:cNvSpPr/>
      </dsp:nvSpPr>
      <dsp:spPr>
        <a:xfrm>
          <a:off x="7628133" y="2996402"/>
          <a:ext cx="3206250" cy="765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cap="all"/>
          </a:pPr>
          <a:r>
            <a:rPr lang="en-US" sz="1600" kern="1200" cap="all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ptos" panose="02110004020202020204"/>
              <a:ea typeface="+mn-ea"/>
              <a:cs typeface="+mn-cs"/>
            </a:rPr>
            <a:t>USE MIDAS TO FURTHER ENHANCE CONTEXTUAL REPRESENTATION.</a:t>
          </a:r>
        </a:p>
      </dsp:txBody>
      <dsp:txXfrm>
        <a:off x="7628133" y="2996402"/>
        <a:ext cx="3206250" cy="76500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8/2/layout/IconLabelList">
  <dgm:title val="Icon Label List"/>
  <dgm:desc val="Use to show non-sequential or grouped chunks of information accompanied by a related visuals. Works best with icons or small pictures with short text ca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sameDir"/>
          <dgm:param type="off" val="ctr"/>
          <dgm:param type="vertAlign" val="mid"/>
          <dgm:param type="horzAlign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  <dgm:param type="vertAlign" val="mid"/>
          <dgm:param type="horzAlign" val="ct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2">
        <dgm:constrLst>
          <dgm:constr type="h" for="ch" forName="compNode" refType="h" fact="0.4"/>
          <dgm:constr type="w" for="ch" forName="compNode" val="120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50"/>
          <dgm:constr type="h" for="des" forName="compNode" op="equ"/>
          <dgm:constr type="h" for="des" forName="textRect" op="equ"/>
        </dgm:constrLst>
      </dgm:if>
      <dgm:if name="Name5" axis="ch" ptType="node" func="cnt" op="lte" val="4">
        <dgm:constrLst>
          <dgm:constr type="h" for="ch" forName="compNode" refType="h" fact="0.4"/>
          <dgm:constr type="w" for="ch" forName="compNode" refType="w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36"/>
          <dgm:constr type="h" for="des" forName="compNode" op="equ"/>
          <dgm:constr type="h" for="des" forName="textRect" op="equ"/>
        </dgm:constrLst>
      </dgm:if>
      <dgm:else name="Name6">
        <dgm:constrLst>
          <dgm:constr type="h" for="ch" forName="compNode" refType="h" fact="0.4"/>
          <dgm:constr type="w" for="ch" forName="compNode" refType="w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24"/>
          <dgm:constr type="h" for="des" forName="compNode" op="equ"/>
          <dgm:constr type="h" for="des" forName="textRect" op="equ"/>
        </dgm:constrLst>
      </dgm:else>
    </dgm:choose>
    <dgm:ruleLst>
      <dgm:rule type="w" for="ch" forName="compNode" val="50" fact="NaN" max="NaN"/>
    </dgm:ruleLst>
    <dgm:forEach name="Name7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onstrLst>
          <dgm:constr type="w" for="ch" forName="iconRect" refType="w" fact="0.45"/>
          <dgm:constr type="h" for="ch" forName="iconRect" refType="w" refFor="ch" refForName="iconRect"/>
          <dgm:constr type="ctrX" for="ch" forName="iconRect" refType="w" fact="0.5"/>
          <dgm:constr type="t" for="ch" forName="iconRect"/>
          <dgm:constr type="h" for="ch" forName="spaceRect" refType="h" fact="0.15"/>
          <dgm:constr type="w" for="ch" forName="spaceRect" refType="w"/>
          <dgm:constr type="l" for="ch" forName="spaceRect"/>
          <dgm:constr type="t" for="ch" forName="spaceRect" refType="b" refFor="ch" refForName="iconRect"/>
          <dgm:constr type="h" for="ch" forName="textRect" val="20"/>
          <dgm:constr type="w" for="ch" forName="textRect" refType="w"/>
          <dgm:constr type="l" for="ch" forName="textRect"/>
          <dgm:constr type="t" for="ch" forName="textRect" refType="b" refFor="ch" refForName="spaceRect"/>
        </dgm:constrLst>
        <dgm:ruleLst>
          <dgm:rule type="h" val="INF" fact="NaN" max="NaN"/>
        </dgm:ruleLst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textRect" styleLbl="revTx">
          <dgm:varLst>
            <dgm:chMax val="1"/>
            <dgm:chPref val="1"/>
          </dgm:varLst>
          <dgm:alg type="tx"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/>
            <dgm:constr type="rMarg"/>
            <dgm:constr type="tMarg"/>
            <dgm:constr type="bMarg"/>
          </dgm:constrLst>
          <dgm:ruleLst>
            <dgm:rule type="primFontSz" val="11" fact="NaN" max="NaN"/>
            <dgm:rule type="h" val="INF" fact="NaN" max="NaN"/>
          </dgm:ruleLst>
        </dgm:layoutNode>
      </dgm:layoutNode>
      <dgm:forEach name="Name8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</dgm1612:lstStyle>
    </a:ext>
  </dgm:extLst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18/5/layout/IconCircleLabelList">
  <dgm:title val="Icon Circle Label List"/>
  <dgm:desc val="Use to show non-sequential or grouped chunks of information accompanied by a related visuals. Works best with icons or small pictures with short text ca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sameDir"/>
          <dgm:param type="off" val="ctr"/>
          <dgm:param type="vertAlign" val="mid"/>
          <dgm:param type="horzAlign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  <dgm:param type="vertAlign" val="mid"/>
          <dgm:param type="horzAlign" val="ct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2">
        <dgm:constrLst>
          <dgm:constr type="h" for="ch" forName="compNode" refType="h" fact="0.4"/>
          <dgm:constr type="w" for="ch" forName="compNode" val="100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44"/>
          <dgm:constr type="h" for="des" forName="compNode" op="equ"/>
          <dgm:constr type="h" for="des" forName="textRect" op="equ"/>
        </dgm:constrLst>
      </dgm:if>
      <dgm:if name="Name5" axis="ch" ptType="node" func="cnt" op="lte" val="3">
        <dgm:constrLst>
          <dgm:constr type="h" for="ch" forName="compNode" refType="h" fact="0.4"/>
          <dgm:constr type="w" for="ch" forName="compNode" val="100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40"/>
          <dgm:constr type="h" for="des" forName="compNode" op="equ"/>
          <dgm:constr type="h" for="des" forName="textRect" op="equ"/>
        </dgm:constrLst>
      </dgm:if>
      <dgm:if name="Name6" axis="ch" ptType="node" func="cnt" op="lte" val="4">
        <dgm:constrLst>
          <dgm:constr type="h" for="ch" forName="compNode" refType="h" fact="0.4"/>
          <dgm:constr type="w" for="ch" forName="compNode" refType="w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32"/>
          <dgm:constr type="h" for="des" forName="compNode" op="equ"/>
          <dgm:constr type="h" for="des" forName="textRect" op="equ"/>
        </dgm:constrLst>
      </dgm:if>
      <dgm:else name="Name7">
        <dgm:constrLst>
          <dgm:constr type="h" for="ch" forName="compNode" refType="h" fact="0.4"/>
          <dgm:constr type="w" for="ch" forName="compNode" refType="w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24"/>
          <dgm:constr type="h" for="des" forName="compNode" op="equ"/>
          <dgm:constr type="h" for="des" forName="textRect" op="equ"/>
        </dgm:constrLst>
      </dgm:else>
    </dgm:choose>
    <dgm:ruleLst>
      <dgm:rule type="w" for="ch" forName="compNode" val="5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onstrLst>
          <dgm:constr type="w" for="ch" forName="iconBgRect" refType="w" fact="0.61"/>
          <dgm:constr type="h" for="ch" forName="iconBgRect" refType="w" refFor="ch" refForName="iconBgRect"/>
          <dgm:constr type="t" for="ch" forName="iconBgRect"/>
          <dgm:constr type="ctrX" for="ch" forName="iconBgRect" refType="w" fact="0.5"/>
          <dgm:constr type="w" for="ch" forName="iconRect" refType="w" fact="0.35"/>
          <dgm:constr type="h" for="ch" forName="iconRect" refType="w" refFor="ch" refForName="iconRect"/>
          <dgm:constr type="ctrX" for="ch" forName="iconRect" refType="ctrX" refFor="ch" refForName="iconBgRect"/>
          <dgm:constr type="ctrY" for="ch" forName="iconRect" refType="ctrY" refFor="ch" refForName="iconBgRect"/>
          <dgm:constr type="h" for="ch" forName="spaceRect" refType="w" fact="0.19"/>
          <dgm:constr type="w" for="ch" forName="spaceRect" refType="w"/>
          <dgm:constr type="l" for="ch" forName="spaceRect"/>
          <dgm:constr type="t" for="ch" forName="spaceRect" refType="b" refFor="ch" refForName="iconBgRect"/>
          <dgm:constr type="h" for="ch" forName="textRect" val="20"/>
          <dgm:constr type="w" for="ch" forName="textRect" refType="w"/>
          <dgm:constr type="l" for="ch" forName="textRect"/>
          <dgm:constr type="t" for="ch" forName="textRect" refType="b" refFor="ch" refForName="spaceRect"/>
        </dgm:constrLst>
        <dgm:ruleLst>
          <dgm:rule type="h" val="INF" fact="NaN" max="NaN"/>
        </dgm:ruleLst>
        <dgm:layoutNode name="iconBgRect" styleLbl="bgShp">
          <dgm:alg type="sp"/>
          <dgm:shape xmlns:r="http://schemas.openxmlformats.org/officeDocument/2006/relationships" type="ellipse" r:blip="">
            <dgm:adjLst/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textRect" styleLbl="revTx">
          <dgm:varLst>
            <dgm:chMax val="1"/>
            <dgm:chPref val="1"/>
          </dgm:varLst>
          <dgm:alg type="tx"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/>
            <dgm:constr type="rMarg"/>
            <dgm:constr type="tMarg"/>
            <dgm:constr type="bMarg"/>
          </dgm:constrLst>
          <dgm:ruleLst>
            <dgm:rule type="primFontSz" val="11" fact="NaN" max="NaN"/>
            <dgm:rule type="h" val="INF" fact="NaN" max="NaN"/>
          </dgm:ruleLst>
        </dgm:layoutNode>
      </dgm:layoutNode>
      <dgm:forEach name="Name9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  <a:defRPr cap="all"/>
        </a:lvl1pPr>
      </dgm1612:lstStyle>
    </a:ext>
  </dgm:extLst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644D07-14B9-E66F-129B-6DB9C47E62F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5300437-2811-478E-E46A-9F55C3FC896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F8FAB2F-806A-5593-40CB-5825284166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29F658-F979-46B5-A056-34237B286083}" type="datetimeFigureOut">
              <a:rPr lang="en-US" smtClean="0"/>
              <a:t>1/16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DD3F14-F637-E32E-1AFE-A1711740CE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2C10733-6ECD-0CDD-F4A3-D7072F5D93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97E80E-B0E5-4992-B163-2BA34AAEEB1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326478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4F8381-9937-32A3-78D1-73B5DCEAF7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1F43EAD-0259-2CB7-A5D9-7A888D1865B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6016B2-4CC4-FE85-EE79-C58D8314C7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29F658-F979-46B5-A056-34237B286083}" type="datetimeFigureOut">
              <a:rPr lang="en-US" smtClean="0"/>
              <a:t>1/16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FB582A5-8E3F-7BA6-D2D3-9D59F073FF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2CACB82-9AED-8AF7-AF56-0C62B719AC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97E80E-B0E5-4992-B163-2BA34AAEEB1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017283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514BDC8-C777-C9E3-9594-43951203D8D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C2CAF58-EAED-B225-F34C-665CB44B969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AB60C07-01CE-4C6F-74D1-5D3659C78A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29F658-F979-46B5-A056-34237B286083}" type="datetimeFigureOut">
              <a:rPr lang="en-US" smtClean="0"/>
              <a:t>1/16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34B080A-B4F7-7808-52A9-029C6FCC41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96BE86A-A891-E2EF-F96E-8FCAA6ACCD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97E80E-B0E5-4992-B163-2BA34AAEEB1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741145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userDrawn="1">
  <p:cSld name="BASIC_LAYOU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5F9A914-029A-FACA-89CD-82BDDCAA23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0899016"/>
              </p:ext>
            </p:extLst>
          </p:nvPr>
        </p:nvGraphicFramePr>
        <p:xfrm>
          <a:off x="1059" y="1059"/>
          <a:ext cx="1059" cy="10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5F9A914-029A-FACA-89CD-82BDDCAA23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059" y="1059"/>
                        <a:ext cx="1059" cy="10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logo"/>
          <p:cNvSpPr>
            <a:spLocks noGrp="1"/>
          </p:cNvSpPr>
          <p:nvPr>
            <p:ph type="pic" idx="2" hasCustomPrompt="1"/>
          </p:nvPr>
        </p:nvSpPr>
        <p:spPr>
          <a:xfrm>
            <a:off x="10363201" y="685800"/>
            <a:ext cx="1216083" cy="1119554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50803" indent="0">
              <a:buNone/>
              <a:defRPr/>
            </a:lvl1pPr>
          </a:lstStyle>
          <a:p>
            <a:r>
              <a:rPr lang="en-US" dirty="0"/>
              <a:t>2</a:t>
            </a:r>
          </a:p>
        </p:txBody>
      </p:sp>
      <p:sp>
        <p:nvSpPr>
          <p:cNvPr id="1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612717" y="1518024"/>
            <a:ext cx="9312227" cy="488279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355618" lvl="0" indent="-304815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2400">
                <a:latin typeface="Raleway" pitchFamily="2" charset="77"/>
                <a:ea typeface="Raleway" pitchFamily="2" charset="77"/>
                <a:cs typeface="Calibri" panose="020F0502020204030204" pitchFamily="34" charset="0"/>
                <a:sym typeface="Roboto Light"/>
              </a:defRPr>
            </a:lvl1pPr>
            <a:lvl2pPr marL="609630" lvl="1" indent="-254013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16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914446" lvl="2" indent="-254013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16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219261" lvl="3" indent="-254013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16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1524076" lvl="4" indent="-254013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16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1828891" lvl="5" indent="-254013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16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2133707" lvl="6" indent="-254013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16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2438522" lvl="7" indent="-254013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16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2743337" lvl="8" indent="-254013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16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6" name="heading"/>
          <p:cNvSpPr txBox="1">
            <a:spLocks noGrp="1"/>
          </p:cNvSpPr>
          <p:nvPr>
            <p:ph type="title" hasCustomPrompt="1"/>
          </p:nvPr>
        </p:nvSpPr>
        <p:spPr>
          <a:xfrm>
            <a:off x="620667" y="685800"/>
            <a:ext cx="9312227" cy="6546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3067">
                <a:latin typeface="Raleway" pitchFamily="2" charset="77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background_block">
            <a:extLst>
              <a:ext uri="{FF2B5EF4-FFF2-40B4-BE49-F238E27FC236}">
                <a16:creationId xmlns:a16="http://schemas.microsoft.com/office/drawing/2014/main" id="{75F89250-7C5B-B1F5-8200-8B8C635D3F33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1837581" y="0"/>
            <a:ext cx="354419" cy="6858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50803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1248743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userDrawn="1">
  <p:cSld name="HALF_WITH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3775728"/>
              </p:ext>
            </p:extLst>
          </p:nvPr>
        </p:nvGraphicFramePr>
        <p:xfrm>
          <a:off x="1059" y="1059"/>
          <a:ext cx="1059" cy="10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059" y="1059"/>
                        <a:ext cx="1059" cy="10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mage"/>
          <p:cNvSpPr>
            <a:spLocks noGrp="1"/>
          </p:cNvSpPr>
          <p:nvPr>
            <p:ph type="pic" idx="2" hasCustomPrompt="1"/>
          </p:nvPr>
        </p:nvSpPr>
        <p:spPr>
          <a:xfrm>
            <a:off x="6096000" y="4250"/>
            <a:ext cx="6096000" cy="6858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50803" indent="0">
              <a:buNone/>
              <a:defRPr/>
            </a:lvl1pPr>
          </a:lstStyle>
          <a:p>
            <a:r>
              <a:rPr lang="en-AU" dirty="0"/>
              <a:t>10</a:t>
            </a:r>
          </a:p>
        </p:txBody>
      </p:sp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612717" y="2486212"/>
            <a:ext cx="5019457" cy="3914588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304815" lvl="0" indent="-254013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609630" lvl="1" indent="-254013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16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914446" lvl="2" indent="-254013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16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219261" lvl="3" indent="-254013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16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1524076" lvl="4" indent="-254013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16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1828891" lvl="5" indent="-254013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16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2133707" lvl="6" indent="-254013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16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2438522" lvl="7" indent="-254013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16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2743337" lvl="8" indent="-254013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16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612775" y="1509183"/>
            <a:ext cx="5019457" cy="977028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3067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3534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3534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3534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3534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3534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3534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3534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3534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612775" y="425900"/>
            <a:ext cx="914400" cy="9146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4" name="image_attribution">
            <a:extLst>
              <a:ext uri="{FF2B5EF4-FFF2-40B4-BE49-F238E27FC236}">
                <a16:creationId xmlns:a16="http://schemas.microsoft.com/office/drawing/2014/main" id="{6569A8CA-36B2-E265-E4E7-8A8DF21B36D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96000" y="6400800"/>
            <a:ext cx="3422650" cy="452967"/>
          </a:xfrm>
        </p:spPr>
        <p:txBody>
          <a:bodyPr>
            <a:normAutofit/>
          </a:bodyPr>
          <a:lstStyle>
            <a:lvl1pPr marL="50803" indent="0">
              <a:buNone/>
              <a:defRPr sz="733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24291073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userDrawn="1">
  <p:cSld name="1_HALF_WITH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9873554"/>
              </p:ext>
            </p:extLst>
          </p:nvPr>
        </p:nvGraphicFramePr>
        <p:xfrm>
          <a:off x="1059" y="1059"/>
          <a:ext cx="1059" cy="10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059" y="1059"/>
                        <a:ext cx="1059" cy="10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mage"/>
          <p:cNvSpPr>
            <a:spLocks noGrp="1"/>
          </p:cNvSpPr>
          <p:nvPr>
            <p:ph type="pic" idx="2" hasCustomPrompt="1"/>
          </p:nvPr>
        </p:nvSpPr>
        <p:spPr>
          <a:xfrm>
            <a:off x="-20637" y="4250"/>
            <a:ext cx="6096000" cy="6858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50803" indent="0">
              <a:buNone/>
              <a:defRPr/>
            </a:lvl1pPr>
          </a:lstStyle>
          <a:p>
            <a:r>
              <a:rPr lang="en-AU" dirty="0"/>
              <a:t>2</a:t>
            </a:r>
          </a:p>
        </p:txBody>
      </p:sp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6586331" y="2472300"/>
            <a:ext cx="4992953" cy="39285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304815" lvl="0" indent="-254013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609630" lvl="1" indent="-254013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16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914446" lvl="2" indent="-254013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16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219261" lvl="3" indent="-254013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16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1524076" lvl="4" indent="-254013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16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1828891" lvl="5" indent="-254013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16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2133707" lvl="6" indent="-254013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16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2438522" lvl="7" indent="-254013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16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2743337" lvl="8" indent="-254013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16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6586331" y="1509183"/>
            <a:ext cx="4992953" cy="963117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3067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3534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3534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3534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3534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3534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3534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3534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3534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10668000" y="425900"/>
            <a:ext cx="914400" cy="9146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3</a:t>
            </a:r>
          </a:p>
        </p:txBody>
      </p:sp>
      <p:sp>
        <p:nvSpPr>
          <p:cNvPr id="4" name="image_attribution">
            <a:extLst>
              <a:ext uri="{FF2B5EF4-FFF2-40B4-BE49-F238E27FC236}">
                <a16:creationId xmlns:a16="http://schemas.microsoft.com/office/drawing/2014/main" id="{FB52679D-00ED-7CE2-017B-041885E86B3F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0" y="6400800"/>
            <a:ext cx="3422650" cy="452967"/>
          </a:xfrm>
        </p:spPr>
        <p:txBody>
          <a:bodyPr>
            <a:normAutofit/>
          </a:bodyPr>
          <a:lstStyle>
            <a:lvl1pPr marL="50803" indent="0">
              <a:buNone/>
              <a:defRPr sz="733"/>
            </a:lvl1pPr>
          </a:lstStyle>
          <a:p>
            <a:pPr lvl="0"/>
            <a:r>
              <a:rPr lang="en-US" dirty="0"/>
              <a:t>IMAGE_ATTRIBUTION</a:t>
            </a:r>
          </a:p>
        </p:txBody>
      </p:sp>
      <p:sp>
        <p:nvSpPr>
          <p:cNvPr id="5" name="background_block">
            <a:extLst>
              <a:ext uri="{FF2B5EF4-FFF2-40B4-BE49-F238E27FC236}">
                <a16:creationId xmlns:a16="http://schemas.microsoft.com/office/drawing/2014/main" id="{7BEEA341-586D-B048-35BC-9616BE85A2D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1809228" y="0"/>
            <a:ext cx="381713" cy="6858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50803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23075866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09BF16-B9C4-1A2D-A42D-9146504499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B5023F6-5EB5-DD3E-6A1F-32F2D286468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57A561D-1A86-2654-485C-2AC6BCF6B1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29F658-F979-46B5-A056-34237B286083}" type="datetimeFigureOut">
              <a:rPr lang="en-US" smtClean="0"/>
              <a:t>1/16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5E4853-D305-EA10-777F-FAD357FCCC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B477E6F-3A55-3357-7878-93F355E3A3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97E80E-B0E5-4992-B163-2BA34AAEEB1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19666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C6DAE1-68AE-6097-93FA-AAFC7F1B50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6709966-B414-2B46-CB9E-E3890E994E6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E1DC49E-58C7-3954-F9A6-65468EE1D7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29F658-F979-46B5-A056-34237B286083}" type="datetimeFigureOut">
              <a:rPr lang="en-US" smtClean="0"/>
              <a:t>1/16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C3F9E1F-183B-BE55-67A2-9DE207C2BD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2C2777-0108-6183-A77A-D15A36B575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97E80E-B0E5-4992-B163-2BA34AAEEB1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846716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451D41-FFBD-01B0-D19B-8E47D2B8B4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8710D4D-6CC3-7BC2-CC72-3ADF395E9D4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0E7379D-25C6-015F-46DC-24869319F6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144D7E2-0D61-3001-AA46-0EFD0792F6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29F658-F979-46B5-A056-34237B286083}" type="datetimeFigureOut">
              <a:rPr lang="en-US" smtClean="0"/>
              <a:t>1/16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39D8D9D-2291-8F6D-B883-23194865BF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0E871A1-B587-E139-8A8F-10E634C7B9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97E80E-B0E5-4992-B163-2BA34AAEEB1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64320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4FBD59-B442-03E6-2F22-28A2425274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DEC9346-E9D6-EE33-D269-C9A5A08C48D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527C96B-173D-10A7-9CC6-EED57ECC6D4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7F266C2-2FB5-8E1F-6AD2-A4D8563B632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1FDCDC1-5680-24D7-B9B8-B01CD58B34C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494D8F3-2EA7-8101-04CC-1EC3E0BB64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29F658-F979-46B5-A056-34237B286083}" type="datetimeFigureOut">
              <a:rPr lang="en-US" smtClean="0"/>
              <a:t>1/16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221DDB5-BCA3-CC54-0C08-E4D50CA94B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A9018D1-6FAC-77B3-AC35-1F6F6CA4D6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97E80E-B0E5-4992-B163-2BA34AAEEB1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021303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E9812A-0AC3-7E59-EDFB-790571D1D8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F4D2CB5-94D0-3371-C6BE-23C2199341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29F658-F979-46B5-A056-34237B286083}" type="datetimeFigureOut">
              <a:rPr lang="en-US" smtClean="0"/>
              <a:t>1/16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13DC235-022F-5489-8023-4A3F3948ED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5E527DE-6995-285B-5076-A1CF6EE424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97E80E-B0E5-4992-B163-2BA34AAEEB1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615458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CEB7DF4-B314-0E0D-DB34-8CD52EEB27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29F658-F979-46B5-A056-34237B286083}" type="datetimeFigureOut">
              <a:rPr lang="en-US" smtClean="0"/>
              <a:t>1/16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BF92158-DCA8-3C4D-D960-7B661EF595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E2BE7CF-3545-E2C9-91E4-D74C446EB1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97E80E-B0E5-4992-B163-2BA34AAEEB1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362506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D15AFD2-3F8C-BC16-F21B-BEB04CDBBC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6378BDA-7E82-5226-CCBD-8F640E297CC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8A61DCF-9D8D-C8B8-583F-BAFB2E55D08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D7CB29A-1C6A-6989-374E-13C5CA5E02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29F658-F979-46B5-A056-34237B286083}" type="datetimeFigureOut">
              <a:rPr lang="en-US" smtClean="0"/>
              <a:t>1/16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CD9C3CC-31DC-C067-B08C-222C89DC9A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454F794-6E65-D282-0215-2E13DBFA98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97E80E-B0E5-4992-B163-2BA34AAEEB1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39503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D67739-17A0-8C27-483B-26FA4E4E12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77DC81A-3E9B-8A24-F2AF-CDF6BC51546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7FB6EE9-288C-74C3-5C3A-B778FF39A99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C33F028-1923-A06B-7288-CA017D57A7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29F658-F979-46B5-A056-34237B286083}" type="datetimeFigureOut">
              <a:rPr lang="en-US" smtClean="0"/>
              <a:t>1/16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1B1E9D2-B3D6-6124-4635-F73BC76B42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D079F4C-2EB3-6DF3-1D48-A638A3B29E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97E80E-B0E5-4992-B163-2BA34AAEEB1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924136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E4EC6C8-CB90-0F33-740F-9312D79D84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8BE6018-75EA-35D0-3770-16142FB06B3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FD1BBE7-EAA0-72EA-EB5B-8393A2809F9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C029F658-F979-46B5-A056-34237B286083}" type="datetimeFigureOut">
              <a:rPr lang="en-US" smtClean="0"/>
              <a:t>1/16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94A58B0-F001-8E3D-B535-DDBEFE5F88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D4FC75-195E-A34F-E77C-056845E3FF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FE97E80E-B0E5-4992-B163-2BA34AAEEB1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42717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6F5A5072-7B47-4D32-B52A-4EBBF590B8A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15DAF0-AE1B-46C9-8A6B-DB2AA05AB91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>
            <a:off x="-2" y="-22693"/>
            <a:ext cx="12191999" cy="4374129"/>
          </a:xfrm>
          <a:prstGeom prst="rect">
            <a:avLst/>
          </a:prstGeom>
          <a:gradFill>
            <a:gsLst>
              <a:gs pos="0">
                <a:schemeClr val="accent1">
                  <a:lumMod val="75000"/>
                </a:schemeClr>
              </a:gs>
              <a:gs pos="100000">
                <a:srgbClr val="000000"/>
              </a:gs>
            </a:gsLst>
            <a:lin ang="15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016219D-510E-4184-9090-6D5578A87BD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3908719" y="-3931841"/>
            <a:ext cx="4374557" cy="12192000"/>
          </a:xfrm>
          <a:prstGeom prst="rect">
            <a:avLst/>
          </a:prstGeom>
          <a:gradFill>
            <a:gsLst>
              <a:gs pos="40000">
                <a:schemeClr val="accent1">
                  <a:alpha val="0"/>
                </a:schemeClr>
              </a:gs>
              <a:gs pos="100000">
                <a:schemeClr val="accent1">
                  <a:lumMod val="75000"/>
                  <a:alpha val="52000"/>
                </a:schemeClr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FF4A713-7B75-4B21-90D7-5AB19547C7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4136696" y="-3703868"/>
            <a:ext cx="4374128" cy="11736479"/>
          </a:xfrm>
          <a:prstGeom prst="rect">
            <a:avLst/>
          </a:prstGeom>
          <a:gradFill>
            <a:gsLst>
              <a:gs pos="17000">
                <a:schemeClr val="accent1">
                  <a:alpha val="0"/>
                </a:schemeClr>
              </a:gs>
              <a:gs pos="100000">
                <a:srgbClr val="000000">
                  <a:alpha val="37000"/>
                </a:srgbClr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C631C0B-6DA6-4E57-8231-CE32B3434A7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5" y="-22690"/>
            <a:ext cx="8542485" cy="4374126"/>
          </a:xfrm>
          <a:prstGeom prst="rect">
            <a:avLst/>
          </a:prstGeom>
          <a:gradFill>
            <a:gsLst>
              <a:gs pos="0">
                <a:schemeClr val="accent1">
                  <a:lumMod val="50000"/>
                  <a:alpha val="0"/>
                </a:schemeClr>
              </a:gs>
              <a:gs pos="100000">
                <a:srgbClr val="000000">
                  <a:alpha val="25000"/>
                </a:srgbClr>
              </a:gs>
            </a:gsLst>
            <a:lin ang="18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C29501E6-A978-4A61-9689-9085AF97A53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2508972">
            <a:off x="5945431" y="-1032053"/>
            <a:ext cx="4990147" cy="4439131"/>
          </a:xfrm>
          <a:custGeom>
            <a:avLst/>
            <a:gdLst>
              <a:gd name="connsiteX0" fmla="*/ 4990147 w 4990147"/>
              <a:gd name="connsiteY0" fmla="*/ 2229378 h 4439131"/>
              <a:gd name="connsiteX1" fmla="*/ 917384 w 4990147"/>
              <a:gd name="connsiteY1" fmla="*/ 4439131 h 4439131"/>
              <a:gd name="connsiteX2" fmla="*/ 910814 w 4990147"/>
              <a:gd name="connsiteY2" fmla="*/ 4434219 h 4439131"/>
              <a:gd name="connsiteX3" fmla="*/ 0 w 4990147"/>
              <a:gd name="connsiteY3" fmla="*/ 2502877 h 4439131"/>
              <a:gd name="connsiteX4" fmla="*/ 2502877 w 4990147"/>
              <a:gd name="connsiteY4" fmla="*/ 0 h 4439131"/>
              <a:gd name="connsiteX5" fmla="*/ 4954904 w 4990147"/>
              <a:gd name="connsiteY5" fmla="*/ 1998460 h 44391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90147" h="4439131">
                <a:moveTo>
                  <a:pt x="4990147" y="2229378"/>
                </a:moveTo>
                <a:lnTo>
                  <a:pt x="917384" y="4439131"/>
                </a:lnTo>
                <a:lnTo>
                  <a:pt x="910814" y="4434219"/>
                </a:lnTo>
                <a:cubicBezTo>
                  <a:pt x="354557" y="3975154"/>
                  <a:pt x="0" y="3280421"/>
                  <a:pt x="0" y="2502877"/>
                </a:cubicBezTo>
                <a:cubicBezTo>
                  <a:pt x="0" y="1120576"/>
                  <a:pt x="1120576" y="0"/>
                  <a:pt x="2502877" y="0"/>
                </a:cubicBezTo>
                <a:cubicBezTo>
                  <a:pt x="3712390" y="0"/>
                  <a:pt x="4721520" y="857941"/>
                  <a:pt x="4954904" y="1998460"/>
                </a:cubicBezTo>
                <a:close/>
              </a:path>
            </a:pathLst>
          </a:custGeom>
          <a:gradFill>
            <a:gsLst>
              <a:gs pos="0">
                <a:schemeClr val="accent1">
                  <a:alpha val="22000"/>
                </a:schemeClr>
              </a:gs>
              <a:gs pos="87000">
                <a:schemeClr val="accent1">
                  <a:lumMod val="60000"/>
                  <a:lumOff val="40000"/>
                  <a:alpha val="2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9DACE5C-7BD1-7AC0-205A-E60E223F315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50758" y="1345187"/>
            <a:ext cx="10841318" cy="1637943"/>
          </a:xfrm>
        </p:spPr>
        <p:txBody>
          <a:bodyPr anchor="b">
            <a:noAutofit/>
          </a:bodyPr>
          <a:lstStyle/>
          <a:p>
            <a:pPr algn="l"/>
            <a:r>
              <a:rPr lang="en-US" sz="5400" dirty="0">
                <a:solidFill>
                  <a:srgbClr val="FFFFFF"/>
                </a:solidFill>
              </a:rPr>
              <a:t>Synthetic Data Generation with Stable Diffusion, ControlNet, and </a:t>
            </a:r>
            <a:r>
              <a:rPr lang="en-US" sz="5400" dirty="0" err="1">
                <a:solidFill>
                  <a:srgbClr val="FFFFFF"/>
                </a:solidFill>
              </a:rPr>
              <a:t>MiDaS</a:t>
            </a:r>
            <a:endParaRPr lang="en-US" sz="5400" dirty="0">
              <a:solidFill>
                <a:srgbClr val="FFFFFF"/>
              </a:solidFill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FD461A2-FD3C-5FAD-CA4B-A301B3B89E0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350682" y="4870824"/>
            <a:ext cx="10005951" cy="1458258"/>
          </a:xfrm>
        </p:spPr>
        <p:txBody>
          <a:bodyPr anchor="ctr">
            <a:normAutofit/>
          </a:bodyPr>
          <a:lstStyle/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ro-RO" dirty="0"/>
              <a:t>Eduard-Mitruț Roșca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ro-RO" dirty="0"/>
              <a:t>Albert Reguș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679298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3" name="Rectangle 32">
            <a:extLst>
              <a:ext uri="{FF2B5EF4-FFF2-40B4-BE49-F238E27FC236}">
                <a16:creationId xmlns:a16="http://schemas.microsoft.com/office/drawing/2014/main" id="{BACC6370-2D7E-4714-9D71-7542949D7D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F68B3F68-107C-434F-AA38-110D5EA91B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2" y="0"/>
            <a:ext cx="12191998" cy="1575955"/>
          </a:xfrm>
          <a:prstGeom prst="rect">
            <a:avLst/>
          </a:prstGeom>
          <a:gradFill>
            <a:gsLst>
              <a:gs pos="0">
                <a:srgbClr val="000000">
                  <a:alpha val="96000"/>
                </a:srgbClr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AAD0DBB9-1A4B-4391-81D4-CB19F9AB91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8128857" y="0"/>
            <a:ext cx="4063143" cy="1576412"/>
          </a:xfrm>
          <a:prstGeom prst="rect">
            <a:avLst/>
          </a:prstGeom>
          <a:gradFill>
            <a:gsLst>
              <a:gs pos="19000">
                <a:schemeClr val="accent1">
                  <a:lumMod val="50000"/>
                  <a:alpha val="68000"/>
                </a:schemeClr>
              </a:gs>
              <a:gs pos="100000">
                <a:schemeClr val="accent1">
                  <a:alpha val="79000"/>
                </a:schemeClr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063BBA22-50EA-4C4D-BE05-F1CE4E63AA5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5307777" y="-5307778"/>
            <a:ext cx="1576446" cy="12192002"/>
          </a:xfrm>
          <a:prstGeom prst="rect">
            <a:avLst/>
          </a:prstGeom>
          <a:gradFill>
            <a:gsLst>
              <a:gs pos="23000">
                <a:schemeClr val="accent1">
                  <a:alpha val="0"/>
                </a:schemeClr>
              </a:gs>
              <a:gs pos="99000">
                <a:srgbClr val="000000">
                  <a:alpha val="74000"/>
                </a:srgbClr>
              </a:gs>
            </a:gsLst>
            <a:lin ang="20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371597" y="348865"/>
            <a:ext cx="10044023" cy="877729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Bef>
                <a:spcPct val="0"/>
              </a:spcBef>
              <a:defRPr sz="4600">
                <a:solidFill>
                  <a:srgbClr val="2E3B4E"/>
                </a:solidFill>
                <a:latin typeface="Arial"/>
              </a:defRPr>
            </a:pPr>
            <a:r>
              <a:rPr lang="en-US" sz="4000" kern="120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Problem: Data-Hungry Models</a:t>
            </a:r>
          </a:p>
        </p:txBody>
      </p:sp>
      <p:graphicFrame>
        <p:nvGraphicFramePr>
          <p:cNvPr id="12" name="Text Placeholder 2">
            <a:extLst>
              <a:ext uri="{FF2B5EF4-FFF2-40B4-BE49-F238E27FC236}">
                <a16:creationId xmlns:a16="http://schemas.microsoft.com/office/drawing/2014/main" id="{68478BB7-66A7-954C-9857-9CA24B40EA4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23558540"/>
              </p:ext>
            </p:extLst>
          </p:nvPr>
        </p:nvGraphicFramePr>
        <p:xfrm>
          <a:off x="644056" y="2112579"/>
          <a:ext cx="10927829" cy="419280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5" name="Rectangle 24">
            <a:extLst>
              <a:ext uri="{FF2B5EF4-FFF2-40B4-BE49-F238E27FC236}">
                <a16:creationId xmlns:a16="http://schemas.microsoft.com/office/drawing/2014/main" id="{BACC6370-2D7E-4714-9D71-7542949D7D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F68B3F68-107C-434F-AA38-110D5EA91B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2" y="0"/>
            <a:ext cx="12191998" cy="1575955"/>
          </a:xfrm>
          <a:prstGeom prst="rect">
            <a:avLst/>
          </a:prstGeom>
          <a:gradFill>
            <a:gsLst>
              <a:gs pos="0">
                <a:srgbClr val="000000">
                  <a:alpha val="96000"/>
                </a:srgbClr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AAD0DBB9-1A4B-4391-81D4-CB19F9AB91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8128857" y="0"/>
            <a:ext cx="4063143" cy="1576412"/>
          </a:xfrm>
          <a:prstGeom prst="rect">
            <a:avLst/>
          </a:prstGeom>
          <a:gradFill>
            <a:gsLst>
              <a:gs pos="19000">
                <a:schemeClr val="accent1">
                  <a:lumMod val="50000"/>
                  <a:alpha val="68000"/>
                </a:schemeClr>
              </a:gs>
              <a:gs pos="100000">
                <a:schemeClr val="accent1">
                  <a:alpha val="79000"/>
                </a:schemeClr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063BBA22-50EA-4C4D-BE05-F1CE4E63AA5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5307777" y="-5307778"/>
            <a:ext cx="1576446" cy="12192002"/>
          </a:xfrm>
          <a:prstGeom prst="rect">
            <a:avLst/>
          </a:prstGeom>
          <a:gradFill>
            <a:gsLst>
              <a:gs pos="23000">
                <a:schemeClr val="accent1">
                  <a:alpha val="0"/>
                </a:schemeClr>
              </a:gs>
              <a:gs pos="99000">
                <a:srgbClr val="000000">
                  <a:alpha val="74000"/>
                </a:srgbClr>
              </a:gs>
            </a:gsLst>
            <a:lin ang="20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371597" y="348865"/>
            <a:ext cx="10044023" cy="877729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Bef>
                <a:spcPct val="0"/>
              </a:spcBef>
              <a:defRPr sz="4600">
                <a:solidFill>
                  <a:srgbClr val="2E3B4E"/>
                </a:solidFill>
                <a:latin typeface="Arial"/>
              </a:defRPr>
            </a:pPr>
            <a:r>
              <a:rPr lang="en-US" sz="3700" kern="120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Solution: Leveraging Stable Diffusion &amp; ControlNet</a:t>
            </a:r>
          </a:p>
        </p:txBody>
      </p:sp>
      <p:graphicFrame>
        <p:nvGraphicFramePr>
          <p:cNvPr id="10" name="Text Placeholder 2">
            <a:extLst>
              <a:ext uri="{FF2B5EF4-FFF2-40B4-BE49-F238E27FC236}">
                <a16:creationId xmlns:a16="http://schemas.microsoft.com/office/drawing/2014/main" id="{9917DC25-161F-EB23-24E0-DD0B8EB33EE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6251278"/>
              </p:ext>
            </p:extLst>
          </p:nvPr>
        </p:nvGraphicFramePr>
        <p:xfrm>
          <a:off x="644056" y="2112579"/>
          <a:ext cx="10927829" cy="419280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1" name="Rectangle 10">
            <a:extLst>
              <a:ext uri="{FF2B5EF4-FFF2-40B4-BE49-F238E27FC236}">
                <a16:creationId xmlns:a16="http://schemas.microsoft.com/office/drawing/2014/main" id="{1B15ED52-F352-441B-82BF-E0EA34836D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B2E3793-BFE6-45A2-9B7B-E18844431C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C4C4868-CB8F-4AF9-9CDB-8108F2C19B6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75E0459-6403-40CD-989D-56A4407CA12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3E5B1A8-3AC9-4BD1-9BBC-78CA94F2D1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Bef>
                <a:spcPct val="0"/>
              </a:spcBef>
              <a:defRPr sz="4600">
                <a:solidFill>
                  <a:srgbClr val="2E3B4E"/>
                </a:solidFill>
                <a:latin typeface="Arial"/>
              </a:defRPr>
            </a:pPr>
            <a:r>
              <a:rPr lang="en-US" sz="4000" kern="1200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Comparison of Model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9350" y="2359132"/>
            <a:ext cx="4693675" cy="3683358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indent="-228600">
              <a:spcAft>
                <a:spcPts val="600"/>
              </a:spcAft>
              <a:defRPr sz="3600">
                <a:latin typeface="Arial"/>
              </a:defRPr>
            </a:pPr>
            <a:r>
              <a:rPr lang="en-US" sz="2000" dirty="0">
                <a:latin typeface="+mn-lt"/>
                <a:ea typeface="+mn-ea"/>
                <a:cs typeface="+mn-cs"/>
              </a:rPr>
              <a:t>1: Segmentation mask only</a:t>
            </a:r>
          </a:p>
          <a:p>
            <a:pPr indent="-228600">
              <a:spcAft>
                <a:spcPts val="600"/>
              </a:spcAft>
              <a:defRPr sz="3600">
                <a:latin typeface="Arial"/>
              </a:defRPr>
            </a:pPr>
            <a:r>
              <a:rPr lang="en-US" sz="2000" dirty="0">
                <a:latin typeface="+mn-lt"/>
                <a:ea typeface="+mn-ea"/>
                <a:cs typeface="+mn-cs"/>
              </a:rPr>
              <a:t>2: Depth map only</a:t>
            </a:r>
          </a:p>
          <a:p>
            <a:pPr indent="-228600">
              <a:spcAft>
                <a:spcPts val="600"/>
              </a:spcAft>
              <a:defRPr sz="3600">
                <a:latin typeface="Arial"/>
              </a:defRPr>
            </a:pPr>
            <a:r>
              <a:rPr lang="en-US" sz="2000" dirty="0">
                <a:latin typeface="+mn-lt"/>
                <a:ea typeface="+mn-ea"/>
                <a:cs typeface="+mn-cs"/>
              </a:rPr>
              <a:t>3: Segmentation mask + </a:t>
            </a:r>
            <a:r>
              <a:rPr lang="en-US" sz="2000" dirty="0" err="1">
                <a:latin typeface="+mn-lt"/>
                <a:ea typeface="+mn-ea"/>
                <a:cs typeface="+mn-cs"/>
              </a:rPr>
              <a:t>MiDaS</a:t>
            </a:r>
            <a:r>
              <a:rPr lang="en-US" sz="2000" dirty="0">
                <a:latin typeface="+mn-lt"/>
                <a:ea typeface="+mn-ea"/>
                <a:cs typeface="+mn-cs"/>
              </a:rPr>
              <a:t> generated Depth map</a:t>
            </a:r>
          </a:p>
        </p:txBody>
      </p: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B8F5F5BB-5902-C98D-A079-8B60532E51B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27431362"/>
              </p:ext>
            </p:extLst>
          </p:nvPr>
        </p:nvGraphicFramePr>
        <p:xfrm>
          <a:off x="4417533" y="1642958"/>
          <a:ext cx="7203550" cy="51561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258C0284-1566-3B10-20A8-689695FFCCE3}"/>
              </a:ext>
            </a:extLst>
          </p:cNvPr>
          <p:cNvSpPr txBox="1">
            <a:spLocks/>
          </p:cNvSpPr>
          <p:nvPr/>
        </p:nvSpPr>
        <p:spPr>
          <a:xfrm>
            <a:off x="8472399" y="6424131"/>
            <a:ext cx="4152582" cy="3314086"/>
          </a:xfrm>
          <a:prstGeom prst="rect">
            <a:avLst/>
          </a:prstGeom>
        </p:spPr>
        <p:txBody>
          <a:bodyPr spcFirstLastPara="1" vert="horz" wrap="square" lIns="0" tIns="91425" rIns="91425" bIns="91425" rtlCol="0" anchor="t" anchorCtr="0">
            <a:noAutofit/>
          </a:bodyPr>
          <a:lstStyle>
            <a:lvl1pPr marL="304815" lvl="0" indent="-2540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609630" lvl="1" indent="-2540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1600" kern="1200">
                <a:solidFill>
                  <a:schemeClr val="tx1"/>
                </a:solidFill>
                <a:latin typeface="Roboto Light"/>
                <a:ea typeface="Roboto Light"/>
                <a:cs typeface="Roboto Light"/>
                <a:sym typeface="Roboto Light"/>
              </a:defRPr>
            </a:lvl2pPr>
            <a:lvl3pPr marL="914446" lvl="2" indent="-2540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1600" kern="1200">
                <a:solidFill>
                  <a:schemeClr val="tx1"/>
                </a:solidFill>
                <a:latin typeface="Roboto Light"/>
                <a:ea typeface="Roboto Light"/>
                <a:cs typeface="Roboto Light"/>
                <a:sym typeface="Roboto Light"/>
              </a:defRPr>
            </a:lvl3pPr>
            <a:lvl4pPr marL="1219261" lvl="3" indent="-2540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1600" kern="1200">
                <a:solidFill>
                  <a:schemeClr val="tx1"/>
                </a:solidFill>
                <a:latin typeface="Roboto Light"/>
                <a:ea typeface="Roboto Light"/>
                <a:cs typeface="Roboto Light"/>
                <a:sym typeface="Roboto Light"/>
              </a:defRPr>
            </a:lvl4pPr>
            <a:lvl5pPr marL="1524076" lvl="4" indent="-2540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1600" kern="1200">
                <a:solidFill>
                  <a:schemeClr val="tx1"/>
                </a:solidFill>
                <a:latin typeface="Roboto Light"/>
                <a:ea typeface="Roboto Light"/>
                <a:cs typeface="Roboto Light"/>
                <a:sym typeface="Roboto Light"/>
              </a:defRPr>
            </a:lvl5pPr>
            <a:lvl6pPr marL="1828891" lvl="5" indent="-2540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1600" kern="1200">
                <a:solidFill>
                  <a:schemeClr val="tx1"/>
                </a:solidFill>
                <a:latin typeface="Roboto Light"/>
                <a:ea typeface="Roboto Light"/>
                <a:cs typeface="Roboto Light"/>
                <a:sym typeface="Roboto Light"/>
              </a:defRPr>
            </a:lvl6pPr>
            <a:lvl7pPr marL="2133707" lvl="6" indent="-2540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1600" kern="1200">
                <a:solidFill>
                  <a:schemeClr val="tx1"/>
                </a:solidFill>
                <a:latin typeface="Roboto Light"/>
                <a:ea typeface="Roboto Light"/>
                <a:cs typeface="Roboto Light"/>
                <a:sym typeface="Roboto Light"/>
              </a:defRPr>
            </a:lvl7pPr>
            <a:lvl8pPr marL="2438522" lvl="7" indent="-2540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1600" kern="1200">
                <a:solidFill>
                  <a:schemeClr val="tx1"/>
                </a:solidFill>
                <a:latin typeface="Roboto Light"/>
                <a:ea typeface="Roboto Light"/>
                <a:cs typeface="Roboto Light"/>
                <a:sym typeface="Roboto Light"/>
              </a:defRPr>
            </a:lvl8pPr>
            <a:lvl9pPr marL="2743337" lvl="8" indent="-2540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1600" kern="1200">
                <a:solidFill>
                  <a:schemeClr val="tx1"/>
                </a:solidFill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pPr marL="50802" indent="0">
              <a:buFont typeface="Arial" panose="020B0604020202020204" pitchFamily="34" charset="0"/>
              <a:buNone/>
              <a:defRPr sz="3600">
                <a:latin typeface="Arial"/>
              </a:defRPr>
            </a:pPr>
            <a:r>
              <a:rPr lang="en-US" sz="1200" dirty="0">
                <a:latin typeface="+mn-lt"/>
                <a:ea typeface="+mn-ea"/>
                <a:cs typeface="+mn-cs"/>
              </a:rPr>
              <a:t>(Lower is better)</a:t>
            </a: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C2915FC6-5A9C-E3E3-C54D-847DE71F813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1" name="Rectangle 10">
            <a:extLst>
              <a:ext uri="{FF2B5EF4-FFF2-40B4-BE49-F238E27FC236}">
                <a16:creationId xmlns:a16="http://schemas.microsoft.com/office/drawing/2014/main" id="{4D9D3686-5B4D-C31E-6BFB-97B01A09CA8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F032B08-E4A9-FBAE-FEA2-7A45578A5E1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7955055-8528-B4BE-C207-650C1495A6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EAACF99A-7FF2-B886-C2FC-4498F2310E4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770FD23-CC26-E17D-C270-71032BFD471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A177881-37F9-DDC3-A7E3-040011C45F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Bef>
                <a:spcPct val="0"/>
              </a:spcBef>
              <a:defRPr sz="4600">
                <a:solidFill>
                  <a:srgbClr val="2E3B4E"/>
                </a:solidFill>
                <a:latin typeface="Arial"/>
              </a:defRPr>
            </a:pPr>
            <a:r>
              <a:rPr lang="en-US" sz="4000" kern="1200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Comparison of Model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2DEB9B8-8C56-15A1-D457-E8988F38AE7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45050" y="1966011"/>
            <a:ext cx="14058901" cy="3683358"/>
          </a:xfrm>
        </p:spPr>
        <p:txBody>
          <a:bodyPr vert="horz" lIns="91440" tIns="45720" rIns="91440" bIns="45720" rtlCol="0" anchor="ctr">
            <a:normAutofit lnSpcReduction="10000"/>
          </a:bodyPr>
          <a:lstStyle/>
          <a:p>
            <a:pPr indent="-228600">
              <a:spcAft>
                <a:spcPts val="600"/>
              </a:spcAft>
              <a:defRPr sz="3600">
                <a:latin typeface="Arial"/>
              </a:defRPr>
            </a:pPr>
            <a:r>
              <a:rPr lang="en-US" sz="3200" dirty="0">
                <a:latin typeface="+mn-lt"/>
                <a:ea typeface="+mn-ea"/>
                <a:cs typeface="+mn-cs"/>
              </a:rPr>
              <a:t>1: Segmentation mask only</a:t>
            </a:r>
          </a:p>
          <a:p>
            <a:pPr lvl="1" indent="-228600">
              <a:spcAft>
                <a:spcPts val="600"/>
              </a:spcAft>
              <a:defRPr sz="3600">
                <a:latin typeface="Arial"/>
              </a:defRPr>
            </a:pPr>
            <a:r>
              <a:rPr lang="en-US" sz="2000" dirty="0">
                <a:latin typeface="+mn-lt"/>
                <a:ea typeface="+mn-ea"/>
                <a:cs typeface="+mn-cs"/>
              </a:rPr>
              <a:t>583.269.568 Parameters</a:t>
            </a:r>
          </a:p>
          <a:p>
            <a:pPr lvl="1" indent="-228600">
              <a:spcAft>
                <a:spcPts val="600"/>
              </a:spcAft>
              <a:defRPr sz="3600">
                <a:latin typeface="Arial"/>
              </a:defRPr>
            </a:pPr>
            <a:r>
              <a:rPr lang="en-US" sz="2000" dirty="0">
                <a:latin typeface="+mn-lt"/>
                <a:ea typeface="+mn-ea"/>
                <a:cs typeface="+mn-cs"/>
              </a:rPr>
              <a:t>~ 39 seconds</a:t>
            </a:r>
            <a:r>
              <a:rPr lang="ro-RO" sz="2000" dirty="0">
                <a:latin typeface="+mn-lt"/>
                <a:ea typeface="+mn-ea"/>
                <a:cs typeface="+mn-cs"/>
              </a:rPr>
              <a:t> </a:t>
            </a:r>
            <a:r>
              <a:rPr lang="en-US" sz="2000" dirty="0">
                <a:latin typeface="+mn-lt"/>
                <a:ea typeface="+mn-ea"/>
                <a:cs typeface="+mn-cs"/>
              </a:rPr>
              <a:t>I</a:t>
            </a:r>
            <a:r>
              <a:rPr lang="ro-RO" sz="2000" dirty="0">
                <a:latin typeface="+mn-lt"/>
                <a:ea typeface="+mn-ea"/>
                <a:cs typeface="+mn-cs"/>
              </a:rPr>
              <a:t>nference time</a:t>
            </a:r>
            <a:r>
              <a:rPr lang="en-US" sz="2000" dirty="0">
                <a:latin typeface="+mn-lt"/>
                <a:ea typeface="+mn-ea"/>
                <a:cs typeface="+mn-cs"/>
              </a:rPr>
              <a:t>¹</a:t>
            </a:r>
          </a:p>
          <a:p>
            <a:pPr indent="-228600">
              <a:spcAft>
                <a:spcPts val="600"/>
              </a:spcAft>
              <a:defRPr sz="3600">
                <a:latin typeface="Arial"/>
              </a:defRPr>
            </a:pPr>
            <a:r>
              <a:rPr lang="en-US" sz="3200" dirty="0">
                <a:latin typeface="+mn-lt"/>
                <a:ea typeface="+mn-ea"/>
                <a:cs typeface="+mn-cs"/>
              </a:rPr>
              <a:t>2: Depth map only</a:t>
            </a:r>
          </a:p>
          <a:p>
            <a:pPr lvl="1" indent="-228600">
              <a:spcAft>
                <a:spcPts val="600"/>
              </a:spcAft>
              <a:defRPr sz="3600">
                <a:latin typeface="Arial"/>
              </a:defRPr>
            </a:pPr>
            <a:r>
              <a:rPr lang="en-US" sz="2000" dirty="0">
                <a:latin typeface="+mn-lt"/>
                <a:ea typeface="+mn-ea"/>
                <a:cs typeface="+mn-cs"/>
              </a:rPr>
              <a:t>583.258.048 Parameters</a:t>
            </a:r>
          </a:p>
          <a:p>
            <a:pPr lvl="1" indent="-228600">
              <a:spcAft>
                <a:spcPts val="600"/>
              </a:spcAft>
              <a:defRPr sz="3600">
                <a:latin typeface="Arial"/>
              </a:defRPr>
            </a:pPr>
            <a:r>
              <a:rPr lang="en-US" sz="2000" dirty="0">
                <a:latin typeface="+mn-lt"/>
                <a:ea typeface="+mn-ea"/>
                <a:cs typeface="+mn-cs"/>
              </a:rPr>
              <a:t>~ 31 seconds</a:t>
            </a:r>
            <a:r>
              <a:rPr lang="ro-RO" sz="2000" dirty="0">
                <a:latin typeface="+mn-lt"/>
                <a:ea typeface="+mn-ea"/>
                <a:cs typeface="+mn-cs"/>
              </a:rPr>
              <a:t> Inference time</a:t>
            </a:r>
            <a:r>
              <a:rPr lang="en-US" sz="2000" dirty="0">
                <a:latin typeface="+mn-lt"/>
                <a:ea typeface="+mn-ea"/>
                <a:cs typeface="+mn-cs"/>
              </a:rPr>
              <a:t>¹</a:t>
            </a:r>
          </a:p>
          <a:p>
            <a:pPr indent="-228600">
              <a:spcAft>
                <a:spcPts val="600"/>
              </a:spcAft>
              <a:defRPr sz="3600">
                <a:latin typeface="Arial"/>
              </a:defRPr>
            </a:pPr>
            <a:r>
              <a:rPr lang="en-US" sz="3200" dirty="0">
                <a:latin typeface="+mn-lt"/>
                <a:ea typeface="+mn-ea"/>
                <a:cs typeface="+mn-cs"/>
              </a:rPr>
              <a:t>3: Segmentation mask + Depth map</a:t>
            </a:r>
          </a:p>
          <a:p>
            <a:pPr lvl="1" indent="-228600">
              <a:spcAft>
                <a:spcPts val="600"/>
              </a:spcAft>
              <a:defRPr sz="3600">
                <a:latin typeface="Arial"/>
              </a:defRPr>
            </a:pPr>
            <a:r>
              <a:rPr lang="en-US" sz="2000" dirty="0">
                <a:latin typeface="+mn-lt"/>
                <a:ea typeface="+mn-ea"/>
                <a:cs typeface="+mn-cs"/>
              </a:rPr>
              <a:t>583.275.328 Parameters</a:t>
            </a:r>
          </a:p>
          <a:p>
            <a:pPr lvl="1" indent="-228600">
              <a:spcAft>
                <a:spcPts val="600"/>
              </a:spcAft>
              <a:defRPr sz="3600">
                <a:latin typeface="Arial"/>
              </a:defRPr>
            </a:pPr>
            <a:r>
              <a:rPr lang="en-US" sz="2000" dirty="0">
                <a:latin typeface="+mn-lt"/>
                <a:ea typeface="+mn-ea"/>
                <a:cs typeface="+mn-cs"/>
              </a:rPr>
              <a:t>~ 32 seconds</a:t>
            </a:r>
            <a:r>
              <a:rPr lang="ro-RO" sz="2000" dirty="0">
                <a:latin typeface="+mn-lt"/>
                <a:ea typeface="+mn-ea"/>
                <a:cs typeface="+mn-cs"/>
              </a:rPr>
              <a:t> Inference time</a:t>
            </a:r>
            <a:r>
              <a:rPr lang="en-US" sz="2000" dirty="0">
                <a:latin typeface="+mn-lt"/>
                <a:ea typeface="+mn-ea"/>
                <a:cs typeface="+mn-cs"/>
              </a:rPr>
              <a:t>¹</a:t>
            </a:r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4DFEDE0F-DEFC-5A92-D698-E530618B3161}"/>
              </a:ext>
            </a:extLst>
          </p:cNvPr>
          <p:cNvSpPr txBox="1">
            <a:spLocks/>
          </p:cNvSpPr>
          <p:nvPr/>
        </p:nvSpPr>
        <p:spPr>
          <a:xfrm>
            <a:off x="345050" y="6096415"/>
            <a:ext cx="10453244" cy="600559"/>
          </a:xfrm>
          <a:prstGeom prst="rect">
            <a:avLst/>
          </a:prstGeom>
        </p:spPr>
        <p:txBody>
          <a:bodyPr spcFirstLastPara="1" vert="horz" wrap="square" lIns="91440" tIns="45720" rIns="91440" bIns="45720" rtlCol="0" anchor="ctr" anchorCtr="0">
            <a:normAutofit/>
          </a:bodyPr>
          <a:lstStyle>
            <a:lvl1pPr marL="304815" lvl="0" indent="-2540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609630" lvl="1" indent="-2540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1600" kern="1200">
                <a:solidFill>
                  <a:schemeClr val="tx1"/>
                </a:solidFill>
                <a:latin typeface="Roboto Light"/>
                <a:ea typeface="Roboto Light"/>
                <a:cs typeface="Roboto Light"/>
                <a:sym typeface="Roboto Light"/>
              </a:defRPr>
            </a:lvl2pPr>
            <a:lvl3pPr marL="914446" lvl="2" indent="-2540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1600" kern="1200">
                <a:solidFill>
                  <a:schemeClr val="tx1"/>
                </a:solidFill>
                <a:latin typeface="Roboto Light"/>
                <a:ea typeface="Roboto Light"/>
                <a:cs typeface="Roboto Light"/>
                <a:sym typeface="Roboto Light"/>
              </a:defRPr>
            </a:lvl3pPr>
            <a:lvl4pPr marL="1219261" lvl="3" indent="-2540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1600" kern="1200">
                <a:solidFill>
                  <a:schemeClr val="tx1"/>
                </a:solidFill>
                <a:latin typeface="Roboto Light"/>
                <a:ea typeface="Roboto Light"/>
                <a:cs typeface="Roboto Light"/>
                <a:sym typeface="Roboto Light"/>
              </a:defRPr>
            </a:lvl4pPr>
            <a:lvl5pPr marL="1524076" lvl="4" indent="-2540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1600" kern="1200">
                <a:solidFill>
                  <a:schemeClr val="tx1"/>
                </a:solidFill>
                <a:latin typeface="Roboto Light"/>
                <a:ea typeface="Roboto Light"/>
                <a:cs typeface="Roboto Light"/>
                <a:sym typeface="Roboto Light"/>
              </a:defRPr>
            </a:lvl5pPr>
            <a:lvl6pPr marL="1828891" lvl="5" indent="-2540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1600" kern="1200">
                <a:solidFill>
                  <a:schemeClr val="tx1"/>
                </a:solidFill>
                <a:latin typeface="Roboto Light"/>
                <a:ea typeface="Roboto Light"/>
                <a:cs typeface="Roboto Light"/>
                <a:sym typeface="Roboto Light"/>
              </a:defRPr>
            </a:lvl6pPr>
            <a:lvl7pPr marL="2133707" lvl="6" indent="-2540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1600" kern="1200">
                <a:solidFill>
                  <a:schemeClr val="tx1"/>
                </a:solidFill>
                <a:latin typeface="Roboto Light"/>
                <a:ea typeface="Roboto Light"/>
                <a:cs typeface="Roboto Light"/>
                <a:sym typeface="Roboto Light"/>
              </a:defRPr>
            </a:lvl7pPr>
            <a:lvl8pPr marL="2438522" lvl="7" indent="-2540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1600" kern="1200">
                <a:solidFill>
                  <a:schemeClr val="tx1"/>
                </a:solidFill>
                <a:latin typeface="Roboto Light"/>
                <a:ea typeface="Roboto Light"/>
                <a:cs typeface="Roboto Light"/>
                <a:sym typeface="Roboto Light"/>
              </a:defRPr>
            </a:lvl8pPr>
            <a:lvl9pPr marL="2743337" lvl="8" indent="-2540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1600" kern="1200">
                <a:solidFill>
                  <a:schemeClr val="tx1"/>
                </a:solidFill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pPr marL="76215" indent="0">
              <a:spcAft>
                <a:spcPts val="600"/>
              </a:spcAft>
              <a:buNone/>
              <a:defRPr sz="3600">
                <a:latin typeface="Arial"/>
              </a:defRPr>
            </a:pPr>
            <a:r>
              <a:rPr lang="en-US" sz="1200" dirty="0">
                <a:latin typeface="+mn-lt"/>
                <a:ea typeface="+mn-ea"/>
                <a:cs typeface="+mn-cs"/>
              </a:rPr>
              <a:t>1. </a:t>
            </a:r>
            <a:r>
              <a:rPr lang="ro-RO" sz="1200" dirty="0">
                <a:latin typeface="+mn-lt"/>
                <a:ea typeface="+mn-ea"/>
                <a:cs typeface="+mn-cs"/>
              </a:rPr>
              <a:t>Setup used</a:t>
            </a:r>
            <a:r>
              <a:rPr lang="en-US" sz="1200" dirty="0">
                <a:latin typeface="+mn-lt"/>
                <a:ea typeface="+mn-ea"/>
                <a:cs typeface="+mn-cs"/>
              </a:rPr>
              <a:t>: L40S GPU (362TFLOPs), 16 CPU Cores, 48Gb RAM</a:t>
            </a:r>
          </a:p>
        </p:txBody>
      </p:sp>
    </p:spTree>
    <p:extLst>
      <p:ext uri="{BB962C8B-B14F-4D97-AF65-F5344CB8AC3E}">
        <p14:creationId xmlns:p14="http://schemas.microsoft.com/office/powerpoint/2010/main" val="43894654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C452D8DF-5419-D498-64FA-4421E2A94AF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7" name="Rectangle 36">
            <a:extLst>
              <a:ext uri="{FF2B5EF4-FFF2-40B4-BE49-F238E27FC236}">
                <a16:creationId xmlns:a16="http://schemas.microsoft.com/office/drawing/2014/main" id="{09588DA8-065E-4F6F-8EFD-43104AB2E0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38" name="Rectangle 37">
            <a:extLst>
              <a:ext uri="{FF2B5EF4-FFF2-40B4-BE49-F238E27FC236}">
                <a16:creationId xmlns:a16="http://schemas.microsoft.com/office/drawing/2014/main" id="{C4285719-470E-454C-AF62-8323075F1F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CD9FE4EF-C4D8-49A0-B2FF-81D8DB7D8A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4" y="1410082"/>
            <a:ext cx="6858000" cy="4037836"/>
          </a:xfrm>
          <a:prstGeom prst="rect">
            <a:avLst/>
          </a:prstGeom>
          <a:gradFill>
            <a:gsLst>
              <a:gs pos="800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4300840D-0A0B-4512-BACA-B439D5B9C57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5" y="1420219"/>
            <a:ext cx="6857999" cy="4037839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alpha val="46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D2B78728-A580-49A7-84F9-6EF6F583ADE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767923" y="3588085"/>
            <a:ext cx="2501979" cy="4037841"/>
          </a:xfrm>
          <a:prstGeom prst="rect">
            <a:avLst/>
          </a:prstGeom>
          <a:gradFill>
            <a:gsLst>
              <a:gs pos="2000">
                <a:schemeClr val="accent1">
                  <a:alpha val="29000"/>
                </a:schemeClr>
              </a:gs>
              <a:gs pos="100000">
                <a:srgbClr val="000000">
                  <a:alpha val="30000"/>
                </a:srgbClr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2" name="Freeform: Shape 41">
            <a:extLst>
              <a:ext uri="{FF2B5EF4-FFF2-40B4-BE49-F238E27FC236}">
                <a16:creationId xmlns:a16="http://schemas.microsoft.com/office/drawing/2014/main" id="{38FAA1A1-D861-433F-88FA-1E9D6FD31D1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0635413">
            <a:off x="-501737" y="969718"/>
            <a:ext cx="3900357" cy="4178958"/>
          </a:xfrm>
          <a:custGeom>
            <a:avLst/>
            <a:gdLst>
              <a:gd name="connsiteX0" fmla="*/ 2432225 w 3900357"/>
              <a:gd name="connsiteY0" fmla="*/ 93939 h 4178958"/>
              <a:gd name="connsiteX1" fmla="*/ 3900357 w 3900357"/>
              <a:gd name="connsiteY1" fmla="*/ 2089479 h 4178958"/>
              <a:gd name="connsiteX2" fmla="*/ 1810878 w 3900357"/>
              <a:gd name="connsiteY2" fmla="*/ 4178958 h 4178958"/>
              <a:gd name="connsiteX3" fmla="*/ 78249 w 3900357"/>
              <a:gd name="connsiteY3" fmla="*/ 3257727 h 4178958"/>
              <a:gd name="connsiteX4" fmla="*/ 0 w 3900357"/>
              <a:gd name="connsiteY4" fmla="*/ 3128923 h 4178958"/>
              <a:gd name="connsiteX5" fmla="*/ 831324 w 3900357"/>
              <a:gd name="connsiteY5" fmla="*/ 244281 h 4178958"/>
              <a:gd name="connsiteX6" fmla="*/ 997559 w 3900357"/>
              <a:gd name="connsiteY6" fmla="*/ 164202 h 4178958"/>
              <a:gd name="connsiteX7" fmla="*/ 1810878 w 3900357"/>
              <a:gd name="connsiteY7" fmla="*/ 0 h 4178958"/>
              <a:gd name="connsiteX8" fmla="*/ 2432225 w 3900357"/>
              <a:gd name="connsiteY8" fmla="*/ 93939 h 4178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00357" h="4178958">
                <a:moveTo>
                  <a:pt x="2432225" y="93939"/>
                </a:moveTo>
                <a:cubicBezTo>
                  <a:pt x="3282786" y="358491"/>
                  <a:pt x="3900357" y="1151865"/>
                  <a:pt x="3900357" y="2089479"/>
                </a:cubicBezTo>
                <a:cubicBezTo>
                  <a:pt x="3900357" y="3243466"/>
                  <a:pt x="2964865" y="4178958"/>
                  <a:pt x="1810878" y="4178958"/>
                </a:cubicBezTo>
                <a:cubicBezTo>
                  <a:pt x="1089636" y="4178958"/>
                  <a:pt x="453744" y="3813531"/>
                  <a:pt x="78249" y="3257727"/>
                </a:cubicBezTo>
                <a:lnTo>
                  <a:pt x="0" y="3128923"/>
                </a:lnTo>
                <a:lnTo>
                  <a:pt x="831324" y="244281"/>
                </a:lnTo>
                <a:lnTo>
                  <a:pt x="997559" y="164202"/>
                </a:lnTo>
                <a:cubicBezTo>
                  <a:pt x="1247540" y="58468"/>
                  <a:pt x="1522381" y="0"/>
                  <a:pt x="1810878" y="0"/>
                </a:cubicBezTo>
                <a:cubicBezTo>
                  <a:pt x="2027251" y="0"/>
                  <a:pt x="2235942" y="32888"/>
                  <a:pt x="2432225" y="93939"/>
                </a:cubicBezTo>
                <a:close/>
              </a:path>
            </a:pathLst>
          </a:custGeom>
          <a:gradFill>
            <a:gsLst>
              <a:gs pos="29000">
                <a:srgbClr val="000000">
                  <a:alpha val="0"/>
                </a:srgbClr>
              </a:gs>
              <a:gs pos="100000">
                <a:schemeClr val="accent1">
                  <a:alpha val="43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8D71EDA1-87BF-4D5D-AB79-F346FD1927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93" y="1399943"/>
            <a:ext cx="6858003" cy="4037835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lumMod val="60000"/>
                  <a:lumOff val="40000"/>
                  <a:alpha val="11000"/>
                </a:schemeClr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D69F4F1-0B2A-A8E5-59F4-9C8F54B4D5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722" y="586855"/>
            <a:ext cx="3201366" cy="3387497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r">
              <a:spcBef>
                <a:spcPct val="0"/>
              </a:spcBef>
              <a:defRPr sz="4600">
                <a:solidFill>
                  <a:srgbClr val="2E3B4E"/>
                </a:solidFill>
                <a:latin typeface="Arial"/>
              </a:defRPr>
            </a:pPr>
            <a:r>
              <a:rPr lang="en-US" sz="4000" kern="120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Conclusion</a:t>
            </a:r>
          </a:p>
        </p:txBody>
      </p:sp>
      <p:sp>
        <p:nvSpPr>
          <p:cNvPr id="8" name="Rectangle 1">
            <a:extLst>
              <a:ext uri="{FF2B5EF4-FFF2-40B4-BE49-F238E27FC236}">
                <a16:creationId xmlns:a16="http://schemas.microsoft.com/office/drawing/2014/main" id="{1BB74CD8-7A90-42B4-C47C-3893F4D0B5D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10259" y="649480"/>
            <a:ext cx="6555347" cy="554604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lIns="91440" tIns="45720" rIns="91440" bIns="45720" numCol="1" rtlCol="0" anchor="ctr" anchorCtr="0" compatLnSpc="1">
            <a:prstTxWarp prst="textNoShape">
              <a:avLst/>
            </a:prstTxWarp>
            <a:normAutofit/>
          </a:bodyPr>
          <a:lstStyle/>
          <a:p>
            <a:pPr marL="0" marR="0" lvl="0" indent="-228600" fontAlgn="base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2000" b="1" i="0" u="none" strike="noStrike" cap="none" normalizeH="0" baseline="0" dirty="0">
                <a:ln>
                  <a:noFill/>
                </a:ln>
                <a:effectLst/>
              </a:rPr>
              <a:t>Addressing Challenges</a:t>
            </a:r>
            <a:r>
              <a:rPr kumimoji="0" lang="en-US" altLang="en-US" sz="2000" b="0" i="0" u="none" strike="noStrike" cap="none" normalizeH="0" baseline="0" dirty="0">
                <a:ln>
                  <a:noFill/>
                </a:ln>
                <a:effectLst/>
              </a:rPr>
              <a:t>: Leveraging </a:t>
            </a:r>
            <a:r>
              <a:rPr kumimoji="0" lang="en-US" altLang="en-US" sz="2000" b="1" i="0" u="none" strike="noStrike" cap="none" normalizeH="0" baseline="0" dirty="0">
                <a:ln>
                  <a:noFill/>
                </a:ln>
                <a:effectLst/>
              </a:rPr>
              <a:t>Stable Diffusion</a:t>
            </a:r>
            <a:r>
              <a:rPr kumimoji="0" lang="en-US" altLang="en-US" sz="2000" b="0" i="0" u="none" strike="noStrike" cap="none" normalizeH="0" baseline="0" dirty="0">
                <a:ln>
                  <a:noFill/>
                </a:ln>
                <a:effectLst/>
              </a:rPr>
              <a:t>, </a:t>
            </a:r>
            <a:r>
              <a:rPr kumimoji="0" lang="en-US" altLang="en-US" sz="2000" b="1" i="0" u="none" strike="noStrike" cap="none" normalizeH="0" baseline="0" dirty="0">
                <a:ln>
                  <a:noFill/>
                </a:ln>
                <a:effectLst/>
              </a:rPr>
              <a:t>ControlNet</a:t>
            </a:r>
            <a:r>
              <a:rPr kumimoji="0" lang="en-US" altLang="en-US" sz="2000" b="0" i="0" u="none" strike="noStrike" cap="none" normalizeH="0" baseline="0" dirty="0">
                <a:ln>
                  <a:noFill/>
                </a:ln>
                <a:effectLst/>
              </a:rPr>
              <a:t>, and </a:t>
            </a:r>
            <a:r>
              <a:rPr kumimoji="0" lang="en-US" altLang="en-US" sz="2000" b="1" i="0" u="none" strike="noStrike" cap="none" normalizeH="0" baseline="0" dirty="0" err="1">
                <a:ln>
                  <a:noFill/>
                </a:ln>
                <a:effectLst/>
              </a:rPr>
              <a:t>MiDaS</a:t>
            </a:r>
            <a:r>
              <a:rPr kumimoji="0" lang="en-US" altLang="en-US" sz="2000" b="0" i="0" u="none" strike="noStrike" cap="none" normalizeH="0" baseline="0" dirty="0">
                <a:ln>
                  <a:noFill/>
                </a:ln>
                <a:effectLst/>
              </a:rPr>
              <a:t> provides an innovative solution to the challenges posed by data-hungry models.</a:t>
            </a:r>
          </a:p>
          <a:p>
            <a:pPr marL="0" marR="0" lvl="0" indent="-228600" fontAlgn="base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endParaRPr kumimoji="0" lang="en-US" altLang="en-US" sz="2000" b="0" i="0" u="none" strike="noStrike" cap="none" normalizeH="0" baseline="0" dirty="0">
              <a:ln>
                <a:noFill/>
              </a:ln>
              <a:effectLst/>
            </a:endParaRPr>
          </a:p>
          <a:p>
            <a:pPr marL="0" marR="0" lvl="0" indent="-228600" fontAlgn="base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2000" b="1" i="0" u="none" strike="noStrike" cap="none" normalizeH="0" baseline="0" dirty="0">
                <a:ln>
                  <a:noFill/>
                </a:ln>
                <a:effectLst/>
              </a:rPr>
              <a:t>Key Achievements</a:t>
            </a:r>
            <a:r>
              <a:rPr kumimoji="0" lang="en-US" altLang="en-US" sz="2000" b="0" i="0" u="none" strike="noStrike" cap="none" normalizeH="0" baseline="0" dirty="0">
                <a:ln>
                  <a:noFill/>
                </a:ln>
                <a:effectLst/>
              </a:rPr>
              <a:t>: </a:t>
            </a:r>
            <a:r>
              <a:rPr lang="en-US" sz="2000" dirty="0"/>
              <a:t>Enhanced depth-aware data synthesis with a minimal impact on inference time.</a:t>
            </a:r>
          </a:p>
          <a:p>
            <a:pPr lvl="1" indent="-228600" fontAlgn="base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000" dirty="0"/>
          </a:p>
          <a:p>
            <a:pPr marL="0" marR="0" lvl="0" indent="-228600" fontAlgn="base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2000" b="1" i="0" u="none" strike="noStrike" cap="none" normalizeH="0" baseline="0" dirty="0">
                <a:ln>
                  <a:noFill/>
                </a:ln>
                <a:effectLst/>
              </a:rPr>
              <a:t>Impact</a:t>
            </a:r>
            <a:r>
              <a:rPr kumimoji="0" lang="en-US" altLang="en-US" sz="2000" b="0" i="0" u="none" strike="noStrike" cap="none" normalizeH="0" baseline="0" dirty="0">
                <a:ln>
                  <a:noFill/>
                </a:ln>
                <a:effectLst/>
              </a:rPr>
              <a:t>: Combining segmentation masks with </a:t>
            </a:r>
            <a:r>
              <a:rPr kumimoji="0" lang="en-US" altLang="en-US" sz="2000" b="0" i="0" u="none" strike="noStrike" cap="none" normalizeH="0" baseline="0" dirty="0" err="1">
                <a:ln>
                  <a:noFill/>
                </a:ln>
                <a:effectLst/>
              </a:rPr>
              <a:t>MiDaS</a:t>
            </a:r>
            <a:r>
              <a:rPr kumimoji="0" lang="en-US" altLang="en-US" sz="2000" b="0" i="0" u="none" strike="noStrike" cap="none" normalizeH="0" baseline="0" dirty="0">
                <a:ln>
                  <a:noFill/>
                </a:ln>
                <a:effectLst/>
              </a:rPr>
              <a:t> depth maps shows measurable improvements in model performance.</a:t>
            </a:r>
          </a:p>
          <a:p>
            <a:pPr marL="0" marR="0" lvl="0" indent="-228600" fontAlgn="base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endParaRPr kumimoji="0" lang="en-US" altLang="en-US" sz="2000" b="0" i="0" u="none" strike="noStrike" cap="none" normalizeH="0" baseline="0" dirty="0">
              <a:ln>
                <a:noFill/>
              </a:ln>
              <a:effectLst/>
            </a:endParaRPr>
          </a:p>
          <a:p>
            <a:pPr marL="0" marR="0" lvl="0" indent="-228600" fontAlgn="base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2000" b="1" i="0" u="none" strike="noStrike" cap="none" normalizeH="0" baseline="0" dirty="0">
                <a:ln>
                  <a:noFill/>
                </a:ln>
                <a:effectLst/>
              </a:rPr>
              <a:t>Looking Ahead</a:t>
            </a:r>
            <a:r>
              <a:rPr kumimoji="0" lang="en-US" altLang="en-US" sz="2000" b="0" i="0" u="none" strike="noStrike" cap="none" normalizeH="0" baseline="0" dirty="0">
                <a:ln>
                  <a:noFill/>
                </a:ln>
                <a:effectLst/>
              </a:rPr>
              <a:t>: Future work will focus on scaling these techniques across diverse datasets, simplifying their usage and exploring their real-world applications. </a:t>
            </a:r>
          </a:p>
        </p:txBody>
      </p:sp>
    </p:spTree>
    <p:extLst>
      <p:ext uri="{BB962C8B-B14F-4D97-AF65-F5344CB8AC3E}">
        <p14:creationId xmlns:p14="http://schemas.microsoft.com/office/powerpoint/2010/main" val="237585456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0E30439A-8A5B-46EC-8283-9B6B031D40D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CEAD642-85CF-4750-8432-7C80C901F0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-427"/>
            <a:ext cx="12192001" cy="6858000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15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A33EEAE-15D5-4119-8C1E-89D943F911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455521" y="-1720"/>
            <a:ext cx="11750040" cy="6840685"/>
          </a:xfrm>
          <a:prstGeom prst="rect">
            <a:avLst/>
          </a:prstGeom>
          <a:gradFill>
            <a:gsLst>
              <a:gs pos="21000">
                <a:schemeClr val="accent1">
                  <a:lumMod val="50000"/>
                  <a:alpha val="61000"/>
                </a:schemeClr>
              </a:gs>
              <a:gs pos="100000">
                <a:schemeClr val="accent1">
                  <a:alpha val="0"/>
                </a:schemeClr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30D8B3B-9B80-4025-B934-26DC7D7CD23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606054" y="-1291"/>
            <a:ext cx="3608179" cy="6858864"/>
          </a:xfrm>
          <a:prstGeom prst="rect">
            <a:avLst/>
          </a:prstGeom>
          <a:gradFill>
            <a:gsLst>
              <a:gs pos="0">
                <a:schemeClr val="accent1">
                  <a:lumMod val="75000"/>
                  <a:alpha val="0"/>
                </a:schemeClr>
              </a:gs>
              <a:gs pos="99000">
                <a:srgbClr val="000000">
                  <a:alpha val="41000"/>
                </a:srgb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B5A1B09C-1565-46F8-B70F-621C5EB48A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5274173">
            <a:off x="6059728" y="779270"/>
            <a:ext cx="4967533" cy="4988390"/>
          </a:xfrm>
          <a:prstGeom prst="ellipse">
            <a:avLst/>
          </a:prstGeom>
          <a:gradFill>
            <a:gsLst>
              <a:gs pos="0">
                <a:schemeClr val="accent1">
                  <a:alpha val="24000"/>
                </a:schemeClr>
              </a:gs>
              <a:gs pos="79000">
                <a:schemeClr val="accent1">
                  <a:lumMod val="60000"/>
                  <a:lumOff val="40000"/>
                  <a:alpha val="0"/>
                </a:schemeClr>
              </a:gs>
            </a:gsLst>
            <a:lin ang="14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C516CC8-80AC-446C-A56E-9F54B72104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6314" y="4480038"/>
            <a:ext cx="12179371" cy="2377962"/>
          </a:xfrm>
          <a:prstGeom prst="rect">
            <a:avLst/>
          </a:prstGeom>
          <a:gradFill>
            <a:gsLst>
              <a:gs pos="0">
                <a:schemeClr val="accent1">
                  <a:lumMod val="75000"/>
                  <a:alpha val="50000"/>
                </a:schemeClr>
              </a:gs>
              <a:gs pos="99000">
                <a:srgbClr val="000000">
                  <a:alpha val="34000"/>
                </a:srgbClr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53947E58-F088-49F1-A3D1-DEA690192E8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 flipH="1">
            <a:off x="6967085" y="1632660"/>
            <a:ext cx="6857572" cy="3592258"/>
          </a:xfrm>
          <a:prstGeom prst="rect">
            <a:avLst/>
          </a:prstGeom>
          <a:gradFill>
            <a:gsLst>
              <a:gs pos="0">
                <a:schemeClr val="accent1">
                  <a:lumMod val="75000"/>
                  <a:alpha val="50000"/>
                </a:schemeClr>
              </a:gs>
              <a:gs pos="99000">
                <a:srgbClr val="000000">
                  <a:alpha val="0"/>
                </a:srgbClr>
              </a:gs>
            </a:gsLst>
            <a:lin ang="15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12292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33</TotalTime>
  <Words>241</Words>
  <Application>Microsoft Office PowerPoint</Application>
  <PresentationFormat>Widescreen</PresentationFormat>
  <Paragraphs>35</Paragraphs>
  <Slides>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5" baseType="lpstr">
      <vt:lpstr>Aptos</vt:lpstr>
      <vt:lpstr>Aptos Display</vt:lpstr>
      <vt:lpstr>Arial</vt:lpstr>
      <vt:lpstr>Calibri</vt:lpstr>
      <vt:lpstr>Raleway</vt:lpstr>
      <vt:lpstr>Roboto Light</vt:lpstr>
      <vt:lpstr>Office Theme</vt:lpstr>
      <vt:lpstr>think-cell Slide</vt:lpstr>
      <vt:lpstr>Synthetic Data Generation with Stable Diffusion, ControlNet, and MiDaS</vt:lpstr>
      <vt:lpstr>Problem: Data-Hungry Models</vt:lpstr>
      <vt:lpstr>Solution: Leveraging Stable Diffusion &amp; ControlNet</vt:lpstr>
      <vt:lpstr>Comparison of Models</vt:lpstr>
      <vt:lpstr>Comparison of Models</vt:lpstr>
      <vt:lpstr>Conclus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ynthetic Data Generation with Stable Diffusion, ControlNet, and MiDaS</dc:title>
  <dc:creator>Mitrut Rosca</dc:creator>
  <cp:lastModifiedBy>Mitrut Rosca</cp:lastModifiedBy>
  <cp:revision>13</cp:revision>
  <dcterms:created xsi:type="dcterms:W3CDTF">2024-12-15T21:43:28Z</dcterms:created>
  <dcterms:modified xsi:type="dcterms:W3CDTF">2025-01-16T20:56:12Z</dcterms:modified>
</cp:coreProperties>
</file>